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467" r:id="rId4"/>
    <p:sldId id="469" r:id="rId5"/>
    <p:sldId id="476" r:id="rId6"/>
    <p:sldId id="477" r:id="rId7"/>
    <p:sldId id="475" r:id="rId8"/>
    <p:sldId id="471" r:id="rId9"/>
    <p:sldId id="482" r:id="rId10"/>
    <p:sldId id="498" r:id="rId11"/>
    <p:sldId id="502" r:id="rId12"/>
    <p:sldId id="478" r:id="rId13"/>
    <p:sldId id="483" r:id="rId14"/>
    <p:sldId id="479" r:id="rId15"/>
    <p:sldId id="480" r:id="rId16"/>
    <p:sldId id="481" r:id="rId17"/>
    <p:sldId id="503" r:id="rId18"/>
    <p:sldId id="484" r:id="rId19"/>
    <p:sldId id="485" r:id="rId20"/>
    <p:sldId id="488" r:id="rId21"/>
    <p:sldId id="490" r:id="rId22"/>
    <p:sldId id="489" r:id="rId23"/>
    <p:sldId id="491" r:id="rId24"/>
    <p:sldId id="492" r:id="rId25"/>
    <p:sldId id="493" r:id="rId26"/>
    <p:sldId id="494" r:id="rId27"/>
    <p:sldId id="495" r:id="rId28"/>
    <p:sldId id="496" r:id="rId29"/>
    <p:sldId id="497" r:id="rId30"/>
    <p:sldId id="441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9C7"/>
    <a:srgbClr val="FFDE67"/>
    <a:srgbClr val="67DBFF"/>
    <a:srgbClr val="D9F2FF"/>
    <a:srgbClr val="C6FEF3"/>
    <a:srgbClr val="F9C7E5"/>
    <a:srgbClr val="B6E6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75" autoAdjust="0"/>
    <p:restoredTop sz="94660"/>
  </p:normalViewPr>
  <p:slideViewPr>
    <p:cSldViewPr snapToGrid="0">
      <p:cViewPr varScale="1">
        <p:scale>
          <a:sx n="75" d="100"/>
          <a:sy n="75" d="100"/>
        </p:scale>
        <p:origin x="66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kmono Erwan" userId="059128fe0edb09ee" providerId="LiveId" clId="{2B58449A-20FD-488F-A0AD-3D4D8BC7D55B}"/>
    <pc:docChg chg="delSld">
      <pc:chgData name="Rukmono Erwan" userId="059128fe0edb09ee" providerId="LiveId" clId="{2B58449A-20FD-488F-A0AD-3D4D8BC7D55B}" dt="2018-12-28T06:16:52.372" v="18" actId="2696"/>
      <pc:docMkLst>
        <pc:docMk/>
      </pc:docMkLst>
    </pc:docChg>
  </pc:docChgLst>
  <pc:docChgLst>
    <pc:chgData name="Rukmono Erwan" userId="059128fe0edb09ee" providerId="LiveId" clId="{9E19FA60-8FB6-41D4-B439-D86BA11E28D5}"/>
    <pc:docChg chg="custSel delSld modSld">
      <pc:chgData name="Rukmono Erwan" userId="059128fe0edb09ee" providerId="LiveId" clId="{9E19FA60-8FB6-41D4-B439-D86BA11E28D5}" dt="2019-01-21T10:25:00.956" v="29" actId="2696"/>
      <pc:docMkLst>
        <pc:docMk/>
      </pc:docMkLst>
      <pc:sldChg chg="delSp">
        <pc:chgData name="Rukmono Erwan" userId="059128fe0edb09ee" providerId="LiveId" clId="{9E19FA60-8FB6-41D4-B439-D86BA11E28D5}" dt="2019-01-21T10:22:05.582" v="0" actId="478"/>
        <pc:sldMkLst>
          <pc:docMk/>
          <pc:sldMk cId="1694946973" sldId="471"/>
        </pc:sldMkLst>
        <pc:graphicFrameChg chg="del">
          <ac:chgData name="Rukmono Erwan" userId="059128fe0edb09ee" providerId="LiveId" clId="{9E19FA60-8FB6-41D4-B439-D86BA11E28D5}" dt="2019-01-21T10:22:05.582" v="0" actId="478"/>
          <ac:graphicFrameMkLst>
            <pc:docMk/>
            <pc:sldMk cId="1694946973" sldId="471"/>
            <ac:graphicFrameMk id="4" creationId="{A699567B-2750-47C4-91F0-FC753F7AA028}"/>
          </ac:graphicFrameMkLst>
        </pc:graphicFrameChg>
      </pc:sldChg>
      <pc:sldChg chg="modSp">
        <pc:chgData name="Rukmono Erwan" userId="059128fe0edb09ee" providerId="LiveId" clId="{9E19FA60-8FB6-41D4-B439-D86BA11E28D5}" dt="2019-01-21T10:22:38.116" v="19" actId="20577"/>
        <pc:sldMkLst>
          <pc:docMk/>
          <pc:sldMk cId="1669516501" sldId="482"/>
        </pc:sldMkLst>
        <pc:spChg chg="mod">
          <ac:chgData name="Rukmono Erwan" userId="059128fe0edb09ee" providerId="LiveId" clId="{9E19FA60-8FB6-41D4-B439-D86BA11E28D5}" dt="2019-01-21T10:22:38.116" v="19" actId="20577"/>
          <ac:spMkLst>
            <pc:docMk/>
            <pc:sldMk cId="1669516501" sldId="482"/>
            <ac:spMk id="2" creationId="{92B3B6B4-7D92-4A28-A8F6-6DD264D67C93}"/>
          </ac:spMkLst>
        </pc:spChg>
      </pc:sldChg>
      <pc:sldChg chg="del">
        <pc:chgData name="Rukmono Erwan" userId="059128fe0edb09ee" providerId="LiveId" clId="{9E19FA60-8FB6-41D4-B439-D86BA11E28D5}" dt="2019-01-21T10:25:00.956" v="29" actId="2696"/>
        <pc:sldMkLst>
          <pc:docMk/>
          <pc:sldMk cId="2983412804" sldId="501"/>
        </pc:sldMkLst>
      </pc:sldChg>
      <pc:sldChg chg="modSp">
        <pc:chgData name="Rukmono Erwan" userId="059128fe0edb09ee" providerId="LiveId" clId="{9E19FA60-8FB6-41D4-B439-D86BA11E28D5}" dt="2019-01-21T10:24:22.790" v="28" actId="20577"/>
        <pc:sldMkLst>
          <pc:docMk/>
          <pc:sldMk cId="2198392439" sldId="502"/>
        </pc:sldMkLst>
        <pc:graphicFrameChg chg="mod">
          <ac:chgData name="Rukmono Erwan" userId="059128fe0edb09ee" providerId="LiveId" clId="{9E19FA60-8FB6-41D4-B439-D86BA11E28D5}" dt="2019-01-21T10:24:22.790" v="28" actId="20577"/>
          <ac:graphicFrameMkLst>
            <pc:docMk/>
            <pc:sldMk cId="2198392439" sldId="502"/>
            <ac:graphicFrameMk id="24" creationId="{B2CB37D5-C1F3-49B3-8199-95306AECA174}"/>
          </ac:graphicFrameMkLst>
        </pc:graphicFrameChg>
      </pc:sldChg>
    </pc:docChg>
  </pc:docChgLst>
  <pc:docChgLst>
    <pc:chgData name="Rukmono Erwan" userId="059128fe0edb09ee" providerId="LiveId" clId="{83C2E456-F640-4190-8C4E-8773455F636A}"/>
    <pc:docChg chg="modSld">
      <pc:chgData name="Rukmono Erwan" userId="059128fe0edb09ee" providerId="LiveId" clId="{83C2E456-F640-4190-8C4E-8773455F636A}" dt="2018-12-05T03:40:23.943" v="33" actId="1076"/>
      <pc:docMkLst>
        <pc:docMk/>
      </pc:docMkLst>
      <pc:sldChg chg="modSp">
        <pc:chgData name="Rukmono Erwan" userId="059128fe0edb09ee" providerId="LiveId" clId="{83C2E456-F640-4190-8C4E-8773455F636A}" dt="2018-12-04T19:55:07.332" v="0" actId="20577"/>
        <pc:sldMkLst>
          <pc:docMk/>
          <pc:sldMk cId="1105009735" sldId="256"/>
        </pc:sldMkLst>
        <pc:spChg chg="mod">
          <ac:chgData name="Rukmono Erwan" userId="059128fe0edb09ee" providerId="LiveId" clId="{83C2E456-F640-4190-8C4E-8773455F636A}" dt="2018-12-04T19:55:07.332" v="0" actId="20577"/>
          <ac:spMkLst>
            <pc:docMk/>
            <pc:sldMk cId="1105009735" sldId="256"/>
            <ac:spMk id="2" creationId="{00000000-0000-0000-0000-000000000000}"/>
          </ac:spMkLst>
        </pc:spChg>
      </pc:sldChg>
      <pc:sldChg chg="modSp">
        <pc:chgData name="Rukmono Erwan" userId="059128fe0edb09ee" providerId="LiveId" clId="{83C2E456-F640-4190-8C4E-8773455F636A}" dt="2018-12-04T19:55:16.074" v="2" actId="14100"/>
        <pc:sldMkLst>
          <pc:docMk/>
          <pc:sldMk cId="2117610497" sldId="467"/>
        </pc:sldMkLst>
        <pc:spChg chg="mod">
          <ac:chgData name="Rukmono Erwan" userId="059128fe0edb09ee" providerId="LiveId" clId="{83C2E456-F640-4190-8C4E-8773455F636A}" dt="2018-12-04T19:55:16.074" v="2" actId="14100"/>
          <ac:spMkLst>
            <pc:docMk/>
            <pc:sldMk cId="2117610497" sldId="467"/>
            <ac:spMk id="3" creationId="{53946376-90BC-493E-BDA9-E57CA5DFF533}"/>
          </ac:spMkLst>
        </pc:spChg>
      </pc:sldChg>
    </pc:docChg>
  </pc:docChgLst>
  <pc:docChgLst>
    <pc:chgData name="Rukmono Erwan" userId="059128fe0edb09ee" providerId="LiveId" clId="{599CADFA-D486-4728-8AA5-E91C358761D0}"/>
    <pc:docChg chg="undo custSel addSld delSld modSld sldOrd">
      <pc:chgData name="Rukmono Erwan" userId="059128fe0edb09ee" providerId="LiveId" clId="{599CADFA-D486-4728-8AA5-E91C358761D0}" dt="2019-01-05T13:07:34.967" v="2096" actId="20577"/>
      <pc:docMkLst>
        <pc:docMk/>
      </pc:docMkLst>
      <pc:sldChg chg="modSp">
        <pc:chgData name="Rukmono Erwan" userId="059128fe0edb09ee" providerId="LiveId" clId="{599CADFA-D486-4728-8AA5-E91C358761D0}" dt="2019-01-05T13:07:34.967" v="2096" actId="20577"/>
        <pc:sldMkLst>
          <pc:docMk/>
          <pc:sldMk cId="2117610497" sldId="467"/>
        </pc:sldMkLst>
        <pc:graphicFrameChg chg="mod modGraphic">
          <ac:chgData name="Rukmono Erwan" userId="059128fe0edb09ee" providerId="LiveId" clId="{599CADFA-D486-4728-8AA5-E91C358761D0}" dt="2019-01-05T13:07:34.967" v="2096" actId="20577"/>
          <ac:graphicFrameMkLst>
            <pc:docMk/>
            <pc:sldMk cId="2117610497" sldId="467"/>
            <ac:graphicFrameMk id="3" creationId="{50C31FD3-8B63-46FD-91B3-5D38864CFA78}"/>
          </ac:graphicFrameMkLst>
        </pc:graphicFrameChg>
      </pc:sldChg>
      <pc:sldChg chg="addSp modSp">
        <pc:chgData name="Rukmono Erwan" userId="059128fe0edb09ee" providerId="LiveId" clId="{599CADFA-D486-4728-8AA5-E91C358761D0}" dt="2019-01-05T12:01:03.080" v="1194"/>
        <pc:sldMkLst>
          <pc:docMk/>
          <pc:sldMk cId="1694946973" sldId="471"/>
        </pc:sldMkLst>
        <pc:spChg chg="mod">
          <ac:chgData name="Rukmono Erwan" userId="059128fe0edb09ee" providerId="LiveId" clId="{599CADFA-D486-4728-8AA5-E91C358761D0}" dt="2019-01-05T11:14:26.230" v="932" actId="20577"/>
          <ac:spMkLst>
            <pc:docMk/>
            <pc:sldMk cId="1694946973" sldId="471"/>
            <ac:spMk id="2" creationId="{92B3B6B4-7D92-4A28-A8F6-6DD264D67C93}"/>
          </ac:spMkLst>
        </pc:spChg>
        <pc:graphicFrameChg chg="add mod modGraphic">
          <ac:chgData name="Rukmono Erwan" userId="059128fe0edb09ee" providerId="LiveId" clId="{599CADFA-D486-4728-8AA5-E91C358761D0}" dt="2019-01-05T12:01:03.080" v="1194"/>
          <ac:graphicFrameMkLst>
            <pc:docMk/>
            <pc:sldMk cId="1694946973" sldId="471"/>
            <ac:graphicFrameMk id="3" creationId="{A13A0288-31FD-455D-85DA-93E2696A433A}"/>
          </ac:graphicFrameMkLst>
        </pc:graphicFrameChg>
      </pc:sldChg>
      <pc:sldChg chg="modSp">
        <pc:chgData name="Rukmono Erwan" userId="059128fe0edb09ee" providerId="LiveId" clId="{599CADFA-D486-4728-8AA5-E91C358761D0}" dt="2019-01-05T11:13:50.957" v="906" actId="20577"/>
        <pc:sldMkLst>
          <pc:docMk/>
          <pc:sldMk cId="1482756987" sldId="475"/>
        </pc:sldMkLst>
        <pc:spChg chg="mod">
          <ac:chgData name="Rukmono Erwan" userId="059128fe0edb09ee" providerId="LiveId" clId="{599CADFA-D486-4728-8AA5-E91C358761D0}" dt="2019-01-05T11:13:50.957" v="906" actId="20577"/>
          <ac:spMkLst>
            <pc:docMk/>
            <pc:sldMk cId="1482756987" sldId="475"/>
            <ac:spMk id="2" creationId="{92B3B6B4-7D92-4A28-A8F6-6DD264D67C93}"/>
          </ac:spMkLst>
        </pc:spChg>
      </pc:sldChg>
      <pc:sldChg chg="modSp">
        <pc:chgData name="Rukmono Erwan" userId="059128fe0edb09ee" providerId="LiveId" clId="{599CADFA-D486-4728-8AA5-E91C358761D0}" dt="2019-01-05T11:15:39.150" v="939" actId="1076"/>
        <pc:sldMkLst>
          <pc:docMk/>
          <pc:sldMk cId="3220820160" sldId="477"/>
        </pc:sldMkLst>
        <pc:graphicFrameChg chg="mod modGraphic">
          <ac:chgData name="Rukmono Erwan" userId="059128fe0edb09ee" providerId="LiveId" clId="{599CADFA-D486-4728-8AA5-E91C358761D0}" dt="2019-01-05T11:15:39.150" v="939" actId="1076"/>
          <ac:graphicFrameMkLst>
            <pc:docMk/>
            <pc:sldMk cId="3220820160" sldId="477"/>
            <ac:graphicFrameMk id="3" creationId="{BAF1B21F-230E-40CE-93DC-43C43611D930}"/>
          </ac:graphicFrameMkLst>
        </pc:graphicFrameChg>
      </pc:sldChg>
      <pc:sldChg chg="addSp delSp modSp add mod">
        <pc:chgData name="Rukmono Erwan" userId="059128fe0edb09ee" providerId="LiveId" clId="{599CADFA-D486-4728-8AA5-E91C358761D0}" dt="2019-01-05T11:40:41.312" v="1047" actId="1036"/>
        <pc:sldMkLst>
          <pc:docMk/>
          <pc:sldMk cId="2316158616" sldId="478"/>
        </pc:sldMkLst>
        <pc:spChg chg="mod">
          <ac:chgData name="Rukmono Erwan" userId="059128fe0edb09ee" providerId="LiveId" clId="{599CADFA-D486-4728-8AA5-E91C358761D0}" dt="2019-01-05T11:22:18.102" v="948" actId="20577"/>
          <ac:spMkLst>
            <pc:docMk/>
            <pc:sldMk cId="2316158616" sldId="478"/>
            <ac:spMk id="2" creationId="{92B3B6B4-7D92-4A28-A8F6-6DD264D67C93}"/>
          </ac:spMkLst>
        </pc:spChg>
        <pc:graphicFrameChg chg="add del mod modGraphic">
          <ac:chgData name="Rukmono Erwan" userId="059128fe0edb09ee" providerId="LiveId" clId="{599CADFA-D486-4728-8AA5-E91C358761D0}" dt="2019-01-05T07:41:48.627" v="373" actId="478"/>
          <ac:graphicFrameMkLst>
            <pc:docMk/>
            <pc:sldMk cId="2316158616" sldId="478"/>
            <ac:graphicFrameMk id="3" creationId="{A330FCE4-8383-40C0-815D-4F1675B9CDF3}"/>
          </ac:graphicFrameMkLst>
        </pc:graphicFrameChg>
        <pc:graphicFrameChg chg="add del mod modGraphic">
          <ac:chgData name="Rukmono Erwan" userId="059128fe0edb09ee" providerId="LiveId" clId="{599CADFA-D486-4728-8AA5-E91C358761D0}" dt="2019-01-05T11:23:32.898" v="965" actId="478"/>
          <ac:graphicFrameMkLst>
            <pc:docMk/>
            <pc:sldMk cId="2316158616" sldId="478"/>
            <ac:graphicFrameMk id="4" creationId="{1781580D-F5FE-41BE-9708-56C1C6C4EA9E}"/>
          </ac:graphicFrameMkLst>
        </pc:graphicFrameChg>
        <pc:graphicFrameChg chg="add del mod">
          <ac:chgData name="Rukmono Erwan" userId="059128fe0edb09ee" providerId="LiveId" clId="{599CADFA-D486-4728-8AA5-E91C358761D0}" dt="2019-01-05T11:27:44.450" v="988" actId="1076"/>
          <ac:graphicFrameMkLst>
            <pc:docMk/>
            <pc:sldMk cId="2316158616" sldId="478"/>
            <ac:graphicFrameMk id="10" creationId="{859A8ACD-53FF-4208-B592-99DE673A01ED}"/>
          </ac:graphicFrameMkLst>
        </pc:graphicFrameChg>
        <pc:graphicFrameChg chg="add del mod">
          <ac:chgData name="Rukmono Erwan" userId="059128fe0edb09ee" providerId="LiveId" clId="{599CADFA-D486-4728-8AA5-E91C358761D0}" dt="2019-01-05T10:29:35.604" v="619" actId="478"/>
          <ac:graphicFrameMkLst>
            <pc:docMk/>
            <pc:sldMk cId="2316158616" sldId="478"/>
            <ac:graphicFrameMk id="13" creationId="{FA70A3C2-65DE-452A-A011-BC4920679E59}"/>
          </ac:graphicFrameMkLst>
        </pc:graphicFrameChg>
        <pc:graphicFrameChg chg="add del mod">
          <ac:chgData name="Rukmono Erwan" userId="059128fe0edb09ee" providerId="LiveId" clId="{599CADFA-D486-4728-8AA5-E91C358761D0}" dt="2019-01-05T10:31:11.551" v="645" actId="478"/>
          <ac:graphicFrameMkLst>
            <pc:docMk/>
            <pc:sldMk cId="2316158616" sldId="478"/>
            <ac:graphicFrameMk id="14" creationId="{5DD3EF52-63FE-4EF3-BBC7-C7C4AF68C843}"/>
          </ac:graphicFrameMkLst>
        </pc:graphicFrameChg>
        <pc:graphicFrameChg chg="add del mod">
          <ac:chgData name="Rukmono Erwan" userId="059128fe0edb09ee" providerId="LiveId" clId="{599CADFA-D486-4728-8AA5-E91C358761D0}" dt="2019-01-05T10:34:21.653" v="672" actId="478"/>
          <ac:graphicFrameMkLst>
            <pc:docMk/>
            <pc:sldMk cId="2316158616" sldId="478"/>
            <ac:graphicFrameMk id="17" creationId="{119D69AA-7F0E-40E2-B08A-A627E8E37F70}"/>
          </ac:graphicFrameMkLst>
        </pc:graphicFrameChg>
        <pc:graphicFrameChg chg="add del">
          <ac:chgData name="Rukmono Erwan" userId="059128fe0edb09ee" providerId="LiveId" clId="{599CADFA-D486-4728-8AA5-E91C358761D0}" dt="2019-01-05T10:37:05.778" v="674" actId="478"/>
          <ac:graphicFrameMkLst>
            <pc:docMk/>
            <pc:sldMk cId="2316158616" sldId="478"/>
            <ac:graphicFrameMk id="20" creationId="{F2FA9D07-EA52-4411-9E43-D64A502EA722}"/>
          </ac:graphicFrameMkLst>
        </pc:graphicFrameChg>
        <pc:graphicFrameChg chg="add del mod">
          <ac:chgData name="Rukmono Erwan" userId="059128fe0edb09ee" providerId="LiveId" clId="{599CADFA-D486-4728-8AA5-E91C358761D0}" dt="2019-01-05T11:24:55.784" v="968" actId="478"/>
          <ac:graphicFrameMkLst>
            <pc:docMk/>
            <pc:sldMk cId="2316158616" sldId="478"/>
            <ac:graphicFrameMk id="24" creationId="{B2CB37D5-C1F3-49B3-8199-95306AECA174}"/>
          </ac:graphicFrameMkLst>
        </pc:graphicFrameChg>
        <pc:graphicFrameChg chg="add mod">
          <ac:chgData name="Rukmono Erwan" userId="059128fe0edb09ee" providerId="LiveId" clId="{599CADFA-D486-4728-8AA5-E91C358761D0}" dt="2019-01-05T11:27:49.792" v="994" actId="20577"/>
          <ac:graphicFrameMkLst>
            <pc:docMk/>
            <pc:sldMk cId="2316158616" sldId="478"/>
            <ac:graphicFrameMk id="28" creationId="{95D14AE0-4E70-4683-8B9F-450362C0A024}"/>
          </ac:graphicFrameMkLst>
        </pc:graphicFrameChg>
        <pc:cxnChg chg="add mod">
          <ac:chgData name="Rukmono Erwan" userId="059128fe0edb09ee" providerId="LiveId" clId="{599CADFA-D486-4728-8AA5-E91C358761D0}" dt="2019-01-05T11:40:41.312" v="1047" actId="1036"/>
          <ac:cxnSpMkLst>
            <pc:docMk/>
            <pc:sldMk cId="2316158616" sldId="478"/>
            <ac:cxnSpMk id="30" creationId="{8223F6D8-478A-43A3-8194-B3075484877B}"/>
          </ac:cxnSpMkLst>
        </pc:cxnChg>
      </pc:sldChg>
      <pc:sldChg chg="modSp add">
        <pc:chgData name="Rukmono Erwan" userId="059128fe0edb09ee" providerId="LiveId" clId="{599CADFA-D486-4728-8AA5-E91C358761D0}" dt="2019-01-05T11:13:17.839" v="878" actId="20577"/>
        <pc:sldMkLst>
          <pc:docMk/>
          <pc:sldMk cId="1361798729" sldId="479"/>
        </pc:sldMkLst>
        <pc:spChg chg="mod">
          <ac:chgData name="Rukmono Erwan" userId="059128fe0edb09ee" providerId="LiveId" clId="{599CADFA-D486-4728-8AA5-E91C358761D0}" dt="2019-01-05T11:13:17.839" v="878" actId="20577"/>
          <ac:spMkLst>
            <pc:docMk/>
            <pc:sldMk cId="1361798729" sldId="479"/>
            <ac:spMk id="2" creationId="{92B3B6B4-7D92-4A28-A8F6-6DD264D67C93}"/>
          </ac:spMkLst>
        </pc:spChg>
      </pc:sldChg>
      <pc:sldChg chg="addSp modSp add">
        <pc:chgData name="Rukmono Erwan" userId="059128fe0edb09ee" providerId="LiveId" clId="{599CADFA-D486-4728-8AA5-E91C358761D0}" dt="2019-01-05T11:47:31.735" v="1128" actId="1076"/>
        <pc:sldMkLst>
          <pc:docMk/>
          <pc:sldMk cId="1810830894" sldId="480"/>
        </pc:sldMkLst>
        <pc:spChg chg="mod">
          <ac:chgData name="Rukmono Erwan" userId="059128fe0edb09ee" providerId="LiveId" clId="{599CADFA-D486-4728-8AA5-E91C358761D0}" dt="2019-01-05T11:46:48.183" v="1125" actId="20577"/>
          <ac:spMkLst>
            <pc:docMk/>
            <pc:sldMk cId="1810830894" sldId="480"/>
            <ac:spMk id="2" creationId="{92B3B6B4-7D92-4A28-A8F6-6DD264D67C93}"/>
          </ac:spMkLst>
        </pc:spChg>
        <pc:graphicFrameChg chg="add mod modGraphic">
          <ac:chgData name="Rukmono Erwan" userId="059128fe0edb09ee" providerId="LiveId" clId="{599CADFA-D486-4728-8AA5-E91C358761D0}" dt="2019-01-05T11:47:31.735" v="1128" actId="1076"/>
          <ac:graphicFrameMkLst>
            <pc:docMk/>
            <pc:sldMk cId="1810830894" sldId="480"/>
            <ac:graphicFrameMk id="3" creationId="{45FD054B-4658-4EF8-882A-21CE9EDD09AD}"/>
          </ac:graphicFrameMkLst>
        </pc:graphicFrameChg>
      </pc:sldChg>
      <pc:sldChg chg="addSp delSp modSp add mod">
        <pc:chgData name="Rukmono Erwan" userId="059128fe0edb09ee" providerId="LiveId" clId="{599CADFA-D486-4728-8AA5-E91C358761D0}" dt="2019-01-05T11:53:55.050" v="1154" actId="20577"/>
        <pc:sldMkLst>
          <pc:docMk/>
          <pc:sldMk cId="2202318049" sldId="481"/>
        </pc:sldMkLst>
        <pc:spChg chg="mod">
          <ac:chgData name="Rukmono Erwan" userId="059128fe0edb09ee" providerId="LiveId" clId="{599CADFA-D486-4728-8AA5-E91C358761D0}" dt="2019-01-05T11:53:55.050" v="1154" actId="20577"/>
          <ac:spMkLst>
            <pc:docMk/>
            <pc:sldMk cId="2202318049" sldId="481"/>
            <ac:spMk id="2" creationId="{92B3B6B4-7D92-4A28-A8F6-6DD264D67C93}"/>
          </ac:spMkLst>
        </pc:spChg>
        <pc:graphicFrameChg chg="mod modGraphic">
          <ac:chgData name="Rukmono Erwan" userId="059128fe0edb09ee" providerId="LiveId" clId="{599CADFA-D486-4728-8AA5-E91C358761D0}" dt="2019-01-05T11:07:45.336" v="845" actId="14734"/>
          <ac:graphicFrameMkLst>
            <pc:docMk/>
            <pc:sldMk cId="2202318049" sldId="481"/>
            <ac:graphicFrameMk id="4" creationId="{1781580D-F5FE-41BE-9708-56C1C6C4EA9E}"/>
          </ac:graphicFrameMkLst>
        </pc:graphicFrameChg>
        <pc:graphicFrameChg chg="add mod">
          <ac:chgData name="Rukmono Erwan" userId="059128fe0edb09ee" providerId="LiveId" clId="{599CADFA-D486-4728-8AA5-E91C358761D0}" dt="2019-01-05T11:10:54.576" v="875" actId="20577"/>
          <ac:graphicFrameMkLst>
            <pc:docMk/>
            <pc:sldMk cId="2202318049" sldId="481"/>
            <ac:graphicFrameMk id="6" creationId="{2A57C98F-8968-42C8-B2B0-779787A84BDE}"/>
          </ac:graphicFrameMkLst>
        </pc:graphicFrameChg>
        <pc:graphicFrameChg chg="mod">
          <ac:chgData name="Rukmono Erwan" userId="059128fe0edb09ee" providerId="LiveId" clId="{599CADFA-D486-4728-8AA5-E91C358761D0}" dt="2019-01-05T11:09:37.779" v="855" actId="20577"/>
          <ac:graphicFrameMkLst>
            <pc:docMk/>
            <pc:sldMk cId="2202318049" sldId="481"/>
            <ac:graphicFrameMk id="10" creationId="{859A8ACD-53FF-4208-B592-99DE673A01ED}"/>
          </ac:graphicFrameMkLst>
        </pc:graphicFrameChg>
        <pc:graphicFrameChg chg="del">
          <ac:chgData name="Rukmono Erwan" userId="059128fe0edb09ee" providerId="LiveId" clId="{599CADFA-D486-4728-8AA5-E91C358761D0}" dt="2019-01-05T11:09:04.505" v="846" actId="478"/>
          <ac:graphicFrameMkLst>
            <pc:docMk/>
            <pc:sldMk cId="2202318049" sldId="481"/>
            <ac:graphicFrameMk id="24" creationId="{B2CB37D5-C1F3-49B3-8199-95306AECA174}"/>
          </ac:graphicFrameMkLst>
        </pc:graphicFrameChg>
      </pc:sldChg>
      <pc:sldChg chg="add">
        <pc:chgData name="Rukmono Erwan" userId="059128fe0edb09ee" providerId="LiveId" clId="{599CADFA-D486-4728-8AA5-E91C358761D0}" dt="2019-01-05T11:21:51.515" v="943"/>
        <pc:sldMkLst>
          <pc:docMk/>
          <pc:sldMk cId="1669516501" sldId="482"/>
        </pc:sldMkLst>
      </pc:sldChg>
      <pc:sldChg chg="addSp delSp modSp add mod">
        <pc:chgData name="Rukmono Erwan" userId="059128fe0edb09ee" providerId="LiveId" clId="{599CADFA-D486-4728-8AA5-E91C358761D0}" dt="2019-01-05T11:45:39.699" v="1113" actId="14100"/>
        <pc:sldMkLst>
          <pc:docMk/>
          <pc:sldMk cId="1796662961" sldId="483"/>
        </pc:sldMkLst>
        <pc:spChg chg="mod">
          <ac:chgData name="Rukmono Erwan" userId="059128fe0edb09ee" providerId="LiveId" clId="{599CADFA-D486-4728-8AA5-E91C358761D0}" dt="2019-01-05T11:29:03.587" v="1004" actId="20577"/>
          <ac:spMkLst>
            <pc:docMk/>
            <pc:sldMk cId="1796662961" sldId="483"/>
            <ac:spMk id="2" creationId="{92B3B6B4-7D92-4A28-A8F6-6DD264D67C93}"/>
          </ac:spMkLst>
        </pc:spChg>
        <pc:graphicFrameChg chg="add mod">
          <ac:chgData name="Rukmono Erwan" userId="059128fe0edb09ee" providerId="LiveId" clId="{599CADFA-D486-4728-8AA5-E91C358761D0}" dt="2019-01-05T11:40:06.118" v="1039" actId="1076"/>
          <ac:graphicFrameMkLst>
            <pc:docMk/>
            <pc:sldMk cId="1796662961" sldId="483"/>
            <ac:graphicFrameMk id="5" creationId="{3F1AFE6D-E5C8-4AA5-A34E-3C72BA406FE5}"/>
          </ac:graphicFrameMkLst>
        </pc:graphicFrameChg>
        <pc:graphicFrameChg chg="add mod">
          <ac:chgData name="Rukmono Erwan" userId="059128fe0edb09ee" providerId="LiveId" clId="{599CADFA-D486-4728-8AA5-E91C358761D0}" dt="2019-01-05T11:45:14.845" v="1107" actId="1076"/>
          <ac:graphicFrameMkLst>
            <pc:docMk/>
            <pc:sldMk cId="1796662961" sldId="483"/>
            <ac:graphicFrameMk id="9" creationId="{3485265A-5AB6-472E-A6EB-9A3D63FE565C}"/>
          </ac:graphicFrameMkLst>
        </pc:graphicFrameChg>
        <pc:graphicFrameChg chg="del">
          <ac:chgData name="Rukmono Erwan" userId="059128fe0edb09ee" providerId="LiveId" clId="{599CADFA-D486-4728-8AA5-E91C358761D0}" dt="2019-01-05T11:29:11.210" v="1005" actId="478"/>
          <ac:graphicFrameMkLst>
            <pc:docMk/>
            <pc:sldMk cId="1796662961" sldId="483"/>
            <ac:graphicFrameMk id="10" creationId="{859A8ACD-53FF-4208-B592-99DE673A01ED}"/>
          </ac:graphicFrameMkLst>
        </pc:graphicFrameChg>
        <pc:graphicFrameChg chg="add del mod">
          <ac:chgData name="Rukmono Erwan" userId="059128fe0edb09ee" providerId="LiveId" clId="{599CADFA-D486-4728-8AA5-E91C358761D0}" dt="2019-01-05T11:43:24.684" v="1086" actId="478"/>
          <ac:graphicFrameMkLst>
            <pc:docMk/>
            <pc:sldMk cId="1796662961" sldId="483"/>
            <ac:graphicFrameMk id="11" creationId="{D524596A-86ED-4189-A56A-F549FE118095}"/>
          </ac:graphicFrameMkLst>
        </pc:graphicFrameChg>
        <pc:graphicFrameChg chg="add mod">
          <ac:chgData name="Rukmono Erwan" userId="059128fe0edb09ee" providerId="LiveId" clId="{599CADFA-D486-4728-8AA5-E91C358761D0}" dt="2019-01-05T11:45:09.144" v="1106" actId="1076"/>
          <ac:graphicFrameMkLst>
            <pc:docMk/>
            <pc:sldMk cId="1796662961" sldId="483"/>
            <ac:graphicFrameMk id="12" creationId="{18F2FE7C-40B4-454B-B5E9-F96608CC4A74}"/>
          </ac:graphicFrameMkLst>
        </pc:graphicFrameChg>
        <pc:graphicFrameChg chg="del">
          <ac:chgData name="Rukmono Erwan" userId="059128fe0edb09ee" providerId="LiveId" clId="{599CADFA-D486-4728-8AA5-E91C358761D0}" dt="2019-01-05T11:29:11.210" v="1005" actId="478"/>
          <ac:graphicFrameMkLst>
            <pc:docMk/>
            <pc:sldMk cId="1796662961" sldId="483"/>
            <ac:graphicFrameMk id="28" creationId="{95D14AE0-4E70-4683-8B9F-450362C0A024}"/>
          </ac:graphicFrameMkLst>
        </pc:graphicFrameChg>
        <pc:cxnChg chg="add mod">
          <ac:chgData name="Rukmono Erwan" userId="059128fe0edb09ee" providerId="LiveId" clId="{599CADFA-D486-4728-8AA5-E91C358761D0}" dt="2019-01-05T11:45:24.390" v="1109" actId="1076"/>
          <ac:cxnSpMkLst>
            <pc:docMk/>
            <pc:sldMk cId="1796662961" sldId="483"/>
            <ac:cxnSpMk id="8" creationId="{247AF813-0C39-4C45-9165-8FD222707C3A}"/>
          </ac:cxnSpMkLst>
        </pc:cxnChg>
        <pc:cxnChg chg="add mod">
          <ac:chgData name="Rukmono Erwan" userId="059128fe0edb09ee" providerId="LiveId" clId="{599CADFA-D486-4728-8AA5-E91C358761D0}" dt="2019-01-05T11:45:39.699" v="1113" actId="14100"/>
          <ac:cxnSpMkLst>
            <pc:docMk/>
            <pc:sldMk cId="1796662961" sldId="483"/>
            <ac:cxnSpMk id="13" creationId="{1D0E6AC4-EB6F-4BEE-841F-AAD63728A34D}"/>
          </ac:cxnSpMkLst>
        </pc:cxnChg>
      </pc:sldChg>
      <pc:sldChg chg="modSp add">
        <pc:chgData name="Rukmono Erwan" userId="059128fe0edb09ee" providerId="LiveId" clId="{599CADFA-D486-4728-8AA5-E91C358761D0}" dt="2019-01-05T12:02:13.104" v="1207" actId="20577"/>
        <pc:sldMkLst>
          <pc:docMk/>
          <pc:sldMk cId="1646879150" sldId="484"/>
        </pc:sldMkLst>
        <pc:spChg chg="mod">
          <ac:chgData name="Rukmono Erwan" userId="059128fe0edb09ee" providerId="LiveId" clId="{599CADFA-D486-4728-8AA5-E91C358761D0}" dt="2019-01-05T12:02:13.104" v="1207" actId="20577"/>
          <ac:spMkLst>
            <pc:docMk/>
            <pc:sldMk cId="1646879150" sldId="484"/>
            <ac:spMk id="2" creationId="{92B3B6B4-7D92-4A28-A8F6-6DD264D67C93}"/>
          </ac:spMkLst>
        </pc:spChg>
      </pc:sldChg>
      <pc:sldChg chg="addSp delSp modSp add">
        <pc:chgData name="Rukmono Erwan" userId="059128fe0edb09ee" providerId="LiveId" clId="{599CADFA-D486-4728-8AA5-E91C358761D0}" dt="2019-01-05T12:02:56.625" v="1226" actId="2165"/>
        <pc:sldMkLst>
          <pc:docMk/>
          <pc:sldMk cId="4205590894" sldId="485"/>
        </pc:sldMkLst>
        <pc:spChg chg="mod">
          <ac:chgData name="Rukmono Erwan" userId="059128fe0edb09ee" providerId="LiveId" clId="{599CADFA-D486-4728-8AA5-E91C358761D0}" dt="2019-01-05T12:02:23.946" v="1217" actId="20577"/>
          <ac:spMkLst>
            <pc:docMk/>
            <pc:sldMk cId="4205590894" sldId="485"/>
            <ac:spMk id="2" creationId="{92B3B6B4-7D92-4A28-A8F6-6DD264D67C93}"/>
          </ac:spMkLst>
        </pc:spChg>
        <pc:graphicFrameChg chg="del">
          <ac:chgData name="Rukmono Erwan" userId="059128fe0edb09ee" providerId="LiveId" clId="{599CADFA-D486-4728-8AA5-E91C358761D0}" dt="2019-01-05T12:00:05.593" v="1191" actId="478"/>
          <ac:graphicFrameMkLst>
            <pc:docMk/>
            <pc:sldMk cId="4205590894" sldId="485"/>
            <ac:graphicFrameMk id="3" creationId="{45FD054B-4658-4EF8-882A-21CE9EDD09AD}"/>
          </ac:graphicFrameMkLst>
        </pc:graphicFrameChg>
        <pc:graphicFrameChg chg="add del">
          <ac:chgData name="Rukmono Erwan" userId="059128fe0edb09ee" providerId="LiveId" clId="{599CADFA-D486-4728-8AA5-E91C358761D0}" dt="2019-01-05T12:01:18.341" v="1195" actId="478"/>
          <ac:graphicFrameMkLst>
            <pc:docMk/>
            <pc:sldMk cId="4205590894" sldId="485"/>
            <ac:graphicFrameMk id="4" creationId="{57CA7110-34AE-4635-A10C-D5A0612F9FEA}"/>
          </ac:graphicFrameMkLst>
        </pc:graphicFrameChg>
        <pc:graphicFrameChg chg="add modGraphic">
          <ac:chgData name="Rukmono Erwan" userId="059128fe0edb09ee" providerId="LiveId" clId="{599CADFA-D486-4728-8AA5-E91C358761D0}" dt="2019-01-05T12:02:56.625" v="1226" actId="2165"/>
          <ac:graphicFrameMkLst>
            <pc:docMk/>
            <pc:sldMk cId="4205590894" sldId="485"/>
            <ac:graphicFrameMk id="5" creationId="{ED352A1C-9906-436F-AE46-26D729FB8AE8}"/>
          </ac:graphicFrameMkLst>
        </pc:graphicFrameChg>
      </pc:sldChg>
      <pc:sldChg chg="modSp add mod ord">
        <pc:chgData name="Rukmono Erwan" userId="059128fe0edb09ee" providerId="LiveId" clId="{599CADFA-D486-4728-8AA5-E91C358761D0}" dt="2019-01-05T12:53:15.874" v="1960" actId="20577"/>
        <pc:sldMkLst>
          <pc:docMk/>
          <pc:sldMk cId="306737913" sldId="488"/>
        </pc:sldMkLst>
        <pc:spChg chg="mod">
          <ac:chgData name="Rukmono Erwan" userId="059128fe0edb09ee" providerId="LiveId" clId="{599CADFA-D486-4728-8AA5-E91C358761D0}" dt="2019-01-05T12:13:24.825" v="1385" actId="20577"/>
          <ac:spMkLst>
            <pc:docMk/>
            <pc:sldMk cId="306737913" sldId="488"/>
            <ac:spMk id="2" creationId="{92B3B6B4-7D92-4A28-A8F6-6DD264D67C93}"/>
          </ac:spMkLst>
        </pc:spChg>
        <pc:graphicFrameChg chg="mod">
          <ac:chgData name="Rukmono Erwan" userId="059128fe0edb09ee" providerId="LiveId" clId="{599CADFA-D486-4728-8AA5-E91C358761D0}" dt="2019-01-05T12:14:18.303" v="1432" actId="20577"/>
          <ac:graphicFrameMkLst>
            <pc:docMk/>
            <pc:sldMk cId="306737913" sldId="488"/>
            <ac:graphicFrameMk id="5" creationId="{3F1AFE6D-E5C8-4AA5-A34E-3C72BA406FE5}"/>
          </ac:graphicFrameMkLst>
        </pc:graphicFrameChg>
        <pc:graphicFrameChg chg="mod">
          <ac:chgData name="Rukmono Erwan" userId="059128fe0edb09ee" providerId="LiveId" clId="{599CADFA-D486-4728-8AA5-E91C358761D0}" dt="2019-01-05T12:15:39.451" v="1455" actId="20577"/>
          <ac:graphicFrameMkLst>
            <pc:docMk/>
            <pc:sldMk cId="306737913" sldId="488"/>
            <ac:graphicFrameMk id="9" creationId="{3485265A-5AB6-472E-A6EB-9A3D63FE565C}"/>
          </ac:graphicFrameMkLst>
        </pc:graphicFrameChg>
        <pc:graphicFrameChg chg="mod">
          <ac:chgData name="Rukmono Erwan" userId="059128fe0edb09ee" providerId="LiveId" clId="{599CADFA-D486-4728-8AA5-E91C358761D0}" dt="2019-01-05T12:53:15.874" v="1960" actId="20577"/>
          <ac:graphicFrameMkLst>
            <pc:docMk/>
            <pc:sldMk cId="306737913" sldId="488"/>
            <ac:graphicFrameMk id="12" creationId="{18F2FE7C-40B4-454B-B5E9-F96608CC4A74}"/>
          </ac:graphicFrameMkLst>
        </pc:graphicFrameChg>
      </pc:sldChg>
      <pc:sldChg chg="addSp delSp modSp add">
        <pc:chgData name="Rukmono Erwan" userId="059128fe0edb09ee" providerId="LiveId" clId="{599CADFA-D486-4728-8AA5-E91C358761D0}" dt="2019-01-05T12:30:33.214" v="1643" actId="478"/>
        <pc:sldMkLst>
          <pc:docMk/>
          <pc:sldMk cId="198433646" sldId="489"/>
        </pc:sldMkLst>
        <pc:spChg chg="mod">
          <ac:chgData name="Rukmono Erwan" userId="059128fe0edb09ee" providerId="LiveId" clId="{599CADFA-D486-4728-8AA5-E91C358761D0}" dt="2019-01-05T12:26:46.579" v="1562" actId="20577"/>
          <ac:spMkLst>
            <pc:docMk/>
            <pc:sldMk cId="198433646" sldId="489"/>
            <ac:spMk id="2" creationId="{92B3B6B4-7D92-4A28-A8F6-6DD264D67C93}"/>
          </ac:spMkLst>
        </pc:spChg>
        <pc:graphicFrameChg chg="mod modGraphic">
          <ac:chgData name="Rukmono Erwan" userId="059128fe0edb09ee" providerId="LiveId" clId="{599CADFA-D486-4728-8AA5-E91C358761D0}" dt="2019-01-05T12:21:20.493" v="1536" actId="14734"/>
          <ac:graphicFrameMkLst>
            <pc:docMk/>
            <pc:sldMk cId="198433646" sldId="489"/>
            <ac:graphicFrameMk id="4" creationId="{1781580D-F5FE-41BE-9708-56C1C6C4EA9E}"/>
          </ac:graphicFrameMkLst>
        </pc:graphicFrameChg>
        <pc:graphicFrameChg chg="add del mod">
          <ac:chgData name="Rukmono Erwan" userId="059128fe0edb09ee" providerId="LiveId" clId="{599CADFA-D486-4728-8AA5-E91C358761D0}" dt="2019-01-05T12:30:33.214" v="1643" actId="478"/>
          <ac:graphicFrameMkLst>
            <pc:docMk/>
            <pc:sldMk cId="198433646" sldId="489"/>
            <ac:graphicFrameMk id="10" creationId="{859A8ACD-53FF-4208-B592-99DE673A01ED}"/>
          </ac:graphicFrameMkLst>
        </pc:graphicFrameChg>
        <pc:graphicFrameChg chg="mod">
          <ac:chgData name="Rukmono Erwan" userId="059128fe0edb09ee" providerId="LiveId" clId="{599CADFA-D486-4728-8AA5-E91C358761D0}" dt="2019-01-05T12:30:31.198" v="1642" actId="14100"/>
          <ac:graphicFrameMkLst>
            <pc:docMk/>
            <pc:sldMk cId="198433646" sldId="489"/>
            <ac:graphicFrameMk id="24" creationId="{B2CB37D5-C1F3-49B3-8199-95306AECA174}"/>
          </ac:graphicFrameMkLst>
        </pc:graphicFrameChg>
      </pc:sldChg>
      <pc:sldChg chg="addSp delSp modSp add mod">
        <pc:chgData name="Rukmono Erwan" userId="059128fe0edb09ee" providerId="LiveId" clId="{599CADFA-D486-4728-8AA5-E91C358761D0}" dt="2019-01-05T12:53:34.979" v="1962" actId="27918"/>
        <pc:sldMkLst>
          <pc:docMk/>
          <pc:sldMk cId="335453849" sldId="490"/>
        </pc:sldMkLst>
        <pc:graphicFrameChg chg="del">
          <ac:chgData name="Rukmono Erwan" userId="059128fe0edb09ee" providerId="LiveId" clId="{599CADFA-D486-4728-8AA5-E91C358761D0}" dt="2019-01-05T12:30:40.118" v="1645" actId="478"/>
          <ac:graphicFrameMkLst>
            <pc:docMk/>
            <pc:sldMk cId="335453849" sldId="490"/>
            <ac:graphicFrameMk id="5" creationId="{3F1AFE6D-E5C8-4AA5-A34E-3C72BA406FE5}"/>
          </ac:graphicFrameMkLst>
        </pc:graphicFrameChg>
        <pc:graphicFrameChg chg="del">
          <ac:chgData name="Rukmono Erwan" userId="059128fe0edb09ee" providerId="LiveId" clId="{599CADFA-D486-4728-8AA5-E91C358761D0}" dt="2019-01-05T12:34:09.979" v="1717" actId="478"/>
          <ac:graphicFrameMkLst>
            <pc:docMk/>
            <pc:sldMk cId="335453849" sldId="490"/>
            <ac:graphicFrameMk id="9" creationId="{3485265A-5AB6-472E-A6EB-9A3D63FE565C}"/>
          </ac:graphicFrameMkLst>
        </pc:graphicFrameChg>
        <pc:graphicFrameChg chg="add mod">
          <ac:chgData name="Rukmono Erwan" userId="059128fe0edb09ee" providerId="LiveId" clId="{599CADFA-D486-4728-8AA5-E91C358761D0}" dt="2019-01-05T12:33:56.498" v="1714" actId="14100"/>
          <ac:graphicFrameMkLst>
            <pc:docMk/>
            <pc:sldMk cId="335453849" sldId="490"/>
            <ac:graphicFrameMk id="10" creationId="{05B7D361-287B-4F00-A2D7-D5338E088337}"/>
          </ac:graphicFrameMkLst>
        </pc:graphicFrameChg>
        <pc:graphicFrameChg chg="add mod">
          <ac:chgData name="Rukmono Erwan" userId="059128fe0edb09ee" providerId="LiveId" clId="{599CADFA-D486-4728-8AA5-E91C358761D0}" dt="2019-01-05T12:34:03.137" v="1715" actId="14100"/>
          <ac:graphicFrameMkLst>
            <pc:docMk/>
            <pc:sldMk cId="335453849" sldId="490"/>
            <ac:graphicFrameMk id="11" creationId="{05D2D766-130F-4D43-B159-70006E8B248F}"/>
          </ac:graphicFrameMkLst>
        </pc:graphicFrameChg>
        <pc:graphicFrameChg chg="del">
          <ac:chgData name="Rukmono Erwan" userId="059128fe0edb09ee" providerId="LiveId" clId="{599CADFA-D486-4728-8AA5-E91C358761D0}" dt="2019-01-05T12:34:09.979" v="1717" actId="478"/>
          <ac:graphicFrameMkLst>
            <pc:docMk/>
            <pc:sldMk cId="335453849" sldId="490"/>
            <ac:graphicFrameMk id="12" creationId="{18F2FE7C-40B4-454B-B5E9-F96608CC4A74}"/>
          </ac:graphicFrameMkLst>
        </pc:graphicFrameChg>
        <pc:graphicFrameChg chg="add mod">
          <ac:chgData name="Rukmono Erwan" userId="059128fe0edb09ee" providerId="LiveId" clId="{599CADFA-D486-4728-8AA5-E91C358761D0}" dt="2019-01-05T12:34:32.317" v="1726" actId="20577"/>
          <ac:graphicFrameMkLst>
            <pc:docMk/>
            <pc:sldMk cId="335453849" sldId="490"/>
            <ac:graphicFrameMk id="14" creationId="{D19A077C-87A8-4CAE-ABFA-6DE85F8287E4}"/>
          </ac:graphicFrameMkLst>
        </pc:graphicFrameChg>
        <pc:graphicFrameChg chg="add mod">
          <ac:chgData name="Rukmono Erwan" userId="059128fe0edb09ee" providerId="LiveId" clId="{599CADFA-D486-4728-8AA5-E91C358761D0}" dt="2019-01-05T12:34:37.082" v="1732" actId="20577"/>
          <ac:graphicFrameMkLst>
            <pc:docMk/>
            <pc:sldMk cId="335453849" sldId="490"/>
            <ac:graphicFrameMk id="15" creationId="{C5B5452F-2CF9-4C3E-82B8-7BCF9574703B}"/>
          </ac:graphicFrameMkLst>
        </pc:graphicFrameChg>
        <pc:cxnChg chg="mod">
          <ac:chgData name="Rukmono Erwan" userId="059128fe0edb09ee" providerId="LiveId" clId="{599CADFA-D486-4728-8AA5-E91C358761D0}" dt="2019-01-05T12:34:13.681" v="1718" actId="1076"/>
          <ac:cxnSpMkLst>
            <pc:docMk/>
            <pc:sldMk cId="335453849" sldId="490"/>
            <ac:cxnSpMk id="8" creationId="{247AF813-0C39-4C45-9165-8FD222707C3A}"/>
          </ac:cxnSpMkLst>
        </pc:cxnChg>
        <pc:cxnChg chg="del">
          <ac:chgData name="Rukmono Erwan" userId="059128fe0edb09ee" providerId="LiveId" clId="{599CADFA-D486-4728-8AA5-E91C358761D0}" dt="2019-01-05T12:34:09.979" v="1717" actId="478"/>
          <ac:cxnSpMkLst>
            <pc:docMk/>
            <pc:sldMk cId="335453849" sldId="490"/>
            <ac:cxnSpMk id="13" creationId="{1D0E6AC4-EB6F-4BEE-841F-AAD63728A34D}"/>
          </ac:cxnSpMkLst>
        </pc:cxnChg>
      </pc:sldChg>
      <pc:sldChg chg="modSp add">
        <pc:chgData name="Rukmono Erwan" userId="059128fe0edb09ee" providerId="LiveId" clId="{599CADFA-D486-4728-8AA5-E91C358761D0}" dt="2019-01-05T12:40:37.259" v="1770" actId="20577"/>
        <pc:sldMkLst>
          <pc:docMk/>
          <pc:sldMk cId="1035956776" sldId="491"/>
        </pc:sldMkLst>
        <pc:spChg chg="mod">
          <ac:chgData name="Rukmono Erwan" userId="059128fe0edb09ee" providerId="LiveId" clId="{599CADFA-D486-4728-8AA5-E91C358761D0}" dt="2019-01-05T12:40:37.259" v="1770" actId="20577"/>
          <ac:spMkLst>
            <pc:docMk/>
            <pc:sldMk cId="1035956776" sldId="491"/>
            <ac:spMk id="2" creationId="{92B3B6B4-7D92-4A28-A8F6-6DD264D67C93}"/>
          </ac:spMkLst>
        </pc:spChg>
      </pc:sldChg>
      <pc:sldChg chg="addSp delSp modSp add">
        <pc:chgData name="Rukmono Erwan" userId="059128fe0edb09ee" providerId="LiveId" clId="{599CADFA-D486-4728-8AA5-E91C358761D0}" dt="2019-01-05T12:43:10.955" v="1774" actId="1076"/>
        <pc:sldMkLst>
          <pc:docMk/>
          <pc:sldMk cId="2155851605" sldId="492"/>
        </pc:sldMkLst>
        <pc:spChg chg="mod">
          <ac:chgData name="Rukmono Erwan" userId="059128fe0edb09ee" providerId="LiveId" clId="{599CADFA-D486-4728-8AA5-E91C358761D0}" dt="2019-01-05T12:40:16.154" v="1754" actId="20577"/>
          <ac:spMkLst>
            <pc:docMk/>
            <pc:sldMk cId="2155851605" sldId="492"/>
            <ac:spMk id="2" creationId="{92B3B6B4-7D92-4A28-A8F6-6DD264D67C93}"/>
          </ac:spMkLst>
        </pc:spChg>
        <pc:graphicFrameChg chg="del">
          <ac:chgData name="Rukmono Erwan" userId="059128fe0edb09ee" providerId="LiveId" clId="{599CADFA-D486-4728-8AA5-E91C358761D0}" dt="2019-01-05T12:40:08.719" v="1738" actId="478"/>
          <ac:graphicFrameMkLst>
            <pc:docMk/>
            <pc:sldMk cId="2155851605" sldId="492"/>
            <ac:graphicFrameMk id="3" creationId="{45FD054B-4658-4EF8-882A-21CE9EDD09AD}"/>
          </ac:graphicFrameMkLst>
        </pc:graphicFrameChg>
        <pc:graphicFrameChg chg="add mod modGraphic">
          <ac:chgData name="Rukmono Erwan" userId="059128fe0edb09ee" providerId="LiveId" clId="{599CADFA-D486-4728-8AA5-E91C358761D0}" dt="2019-01-05T12:43:10.955" v="1774" actId="1076"/>
          <ac:graphicFrameMkLst>
            <pc:docMk/>
            <pc:sldMk cId="2155851605" sldId="492"/>
            <ac:graphicFrameMk id="4" creationId="{19F89D3D-889E-48CB-81BF-2613FD4FF99C}"/>
          </ac:graphicFrameMkLst>
        </pc:graphicFrameChg>
      </pc:sldChg>
      <pc:sldChg chg="delSp modSp add">
        <pc:chgData name="Rukmono Erwan" userId="059128fe0edb09ee" providerId="LiveId" clId="{599CADFA-D486-4728-8AA5-E91C358761D0}" dt="2019-01-05T12:46:43.013" v="1856" actId="207"/>
        <pc:sldMkLst>
          <pc:docMk/>
          <pc:sldMk cId="1610044625" sldId="493"/>
        </pc:sldMkLst>
        <pc:spChg chg="mod">
          <ac:chgData name="Rukmono Erwan" userId="059128fe0edb09ee" providerId="LiveId" clId="{599CADFA-D486-4728-8AA5-E91C358761D0}" dt="2019-01-05T12:44:33.044" v="1817" actId="20577"/>
          <ac:spMkLst>
            <pc:docMk/>
            <pc:sldMk cId="1610044625" sldId="493"/>
            <ac:spMk id="2" creationId="{92B3B6B4-7D92-4A28-A8F6-6DD264D67C93}"/>
          </ac:spMkLst>
        </pc:spChg>
        <pc:graphicFrameChg chg="mod modGraphic">
          <ac:chgData name="Rukmono Erwan" userId="059128fe0edb09ee" providerId="LiveId" clId="{599CADFA-D486-4728-8AA5-E91C358761D0}" dt="2019-01-05T12:46:43.013" v="1856" actId="207"/>
          <ac:graphicFrameMkLst>
            <pc:docMk/>
            <pc:sldMk cId="1610044625" sldId="493"/>
            <ac:graphicFrameMk id="4" creationId="{1781580D-F5FE-41BE-9708-56C1C6C4EA9E}"/>
          </ac:graphicFrameMkLst>
        </pc:graphicFrameChg>
        <pc:graphicFrameChg chg="del">
          <ac:chgData name="Rukmono Erwan" userId="059128fe0edb09ee" providerId="LiveId" clId="{599CADFA-D486-4728-8AA5-E91C358761D0}" dt="2019-01-05T12:44:39.855" v="1818" actId="478"/>
          <ac:graphicFrameMkLst>
            <pc:docMk/>
            <pc:sldMk cId="1610044625" sldId="493"/>
            <ac:graphicFrameMk id="6" creationId="{2A57C98F-8968-42C8-B2B0-779787A84BDE}"/>
          </ac:graphicFrameMkLst>
        </pc:graphicFrameChg>
        <pc:graphicFrameChg chg="del">
          <ac:chgData name="Rukmono Erwan" userId="059128fe0edb09ee" providerId="LiveId" clId="{599CADFA-D486-4728-8AA5-E91C358761D0}" dt="2019-01-05T12:44:39.855" v="1818" actId="478"/>
          <ac:graphicFrameMkLst>
            <pc:docMk/>
            <pc:sldMk cId="1610044625" sldId="493"/>
            <ac:graphicFrameMk id="10" creationId="{859A8ACD-53FF-4208-B592-99DE673A01ED}"/>
          </ac:graphicFrameMkLst>
        </pc:graphicFrameChg>
      </pc:sldChg>
      <pc:sldChg chg="modSp add">
        <pc:chgData name="Rukmono Erwan" userId="059128fe0edb09ee" providerId="LiveId" clId="{599CADFA-D486-4728-8AA5-E91C358761D0}" dt="2019-01-05T12:48:17.788" v="1874" actId="20577"/>
        <pc:sldMkLst>
          <pc:docMk/>
          <pc:sldMk cId="1068651344" sldId="494"/>
        </pc:sldMkLst>
        <pc:spChg chg="mod">
          <ac:chgData name="Rukmono Erwan" userId="059128fe0edb09ee" providerId="LiveId" clId="{599CADFA-D486-4728-8AA5-E91C358761D0}" dt="2019-01-05T12:48:17.788" v="1874" actId="20577"/>
          <ac:spMkLst>
            <pc:docMk/>
            <pc:sldMk cId="1068651344" sldId="494"/>
            <ac:spMk id="2" creationId="{92B3B6B4-7D92-4A28-A8F6-6DD264D67C93}"/>
          </ac:spMkLst>
        </pc:spChg>
      </pc:sldChg>
      <pc:sldChg chg="modSp add">
        <pc:chgData name="Rukmono Erwan" userId="059128fe0edb09ee" providerId="LiveId" clId="{599CADFA-D486-4728-8AA5-E91C358761D0}" dt="2019-01-05T12:49:55.374" v="1899" actId="1076"/>
        <pc:sldMkLst>
          <pc:docMk/>
          <pc:sldMk cId="2485614884" sldId="495"/>
        </pc:sldMkLst>
        <pc:spChg chg="mod">
          <ac:chgData name="Rukmono Erwan" userId="059128fe0edb09ee" providerId="LiveId" clId="{599CADFA-D486-4728-8AA5-E91C358761D0}" dt="2019-01-05T12:48:55.826" v="1890" actId="20577"/>
          <ac:spMkLst>
            <pc:docMk/>
            <pc:sldMk cId="2485614884" sldId="495"/>
            <ac:spMk id="2" creationId="{92B3B6B4-7D92-4A28-A8F6-6DD264D67C93}"/>
          </ac:spMkLst>
        </pc:spChg>
        <pc:graphicFrameChg chg="mod modGraphic">
          <ac:chgData name="Rukmono Erwan" userId="059128fe0edb09ee" providerId="LiveId" clId="{599CADFA-D486-4728-8AA5-E91C358761D0}" dt="2019-01-05T12:49:55.374" v="1899" actId="1076"/>
          <ac:graphicFrameMkLst>
            <pc:docMk/>
            <pc:sldMk cId="2485614884" sldId="495"/>
            <ac:graphicFrameMk id="3" creationId="{A13A0288-31FD-455D-85DA-93E2696A433A}"/>
          </ac:graphicFrameMkLst>
        </pc:graphicFrameChg>
      </pc:sldChg>
      <pc:sldChg chg="modSp add mod">
        <pc:chgData name="Rukmono Erwan" userId="059128fe0edb09ee" providerId="LiveId" clId="{599CADFA-D486-4728-8AA5-E91C358761D0}" dt="2019-01-05T12:55:48.814" v="1997" actId="27918"/>
        <pc:sldMkLst>
          <pc:docMk/>
          <pc:sldMk cId="965358676" sldId="496"/>
        </pc:sldMkLst>
        <pc:spChg chg="mod">
          <ac:chgData name="Rukmono Erwan" userId="059128fe0edb09ee" providerId="LiveId" clId="{599CADFA-D486-4728-8AA5-E91C358761D0}" dt="2019-01-05T12:51:09.201" v="1901"/>
          <ac:spMkLst>
            <pc:docMk/>
            <pc:sldMk cId="965358676" sldId="496"/>
            <ac:spMk id="2" creationId="{92B3B6B4-7D92-4A28-A8F6-6DD264D67C93}"/>
          </ac:spMkLst>
        </pc:spChg>
        <pc:graphicFrameChg chg="mod">
          <ac:chgData name="Rukmono Erwan" userId="059128fe0edb09ee" providerId="LiveId" clId="{599CADFA-D486-4728-8AA5-E91C358761D0}" dt="2019-01-05T12:51:36.710" v="1931" actId="20577"/>
          <ac:graphicFrameMkLst>
            <pc:docMk/>
            <pc:sldMk cId="965358676" sldId="496"/>
            <ac:graphicFrameMk id="5" creationId="{3F1AFE6D-E5C8-4AA5-A34E-3C72BA406FE5}"/>
          </ac:graphicFrameMkLst>
        </pc:graphicFrameChg>
        <pc:graphicFrameChg chg="mod">
          <ac:chgData name="Rukmono Erwan" userId="059128fe0edb09ee" providerId="LiveId" clId="{599CADFA-D486-4728-8AA5-E91C358761D0}" dt="2019-01-05T12:53:04.361" v="1954" actId="20577"/>
          <ac:graphicFrameMkLst>
            <pc:docMk/>
            <pc:sldMk cId="965358676" sldId="496"/>
            <ac:graphicFrameMk id="9" creationId="{3485265A-5AB6-472E-A6EB-9A3D63FE565C}"/>
          </ac:graphicFrameMkLst>
        </pc:graphicFrameChg>
        <pc:graphicFrameChg chg="mod">
          <ac:chgData name="Rukmono Erwan" userId="059128fe0edb09ee" providerId="LiveId" clId="{599CADFA-D486-4728-8AA5-E91C358761D0}" dt="2019-01-05T12:54:27.294" v="1990" actId="20577"/>
          <ac:graphicFrameMkLst>
            <pc:docMk/>
            <pc:sldMk cId="965358676" sldId="496"/>
            <ac:graphicFrameMk id="12" creationId="{18F2FE7C-40B4-454B-B5E9-F96608CC4A74}"/>
          </ac:graphicFrameMkLst>
        </pc:graphicFrameChg>
      </pc:sldChg>
      <pc:sldChg chg="modSp add mod">
        <pc:chgData name="Rukmono Erwan" userId="059128fe0edb09ee" providerId="LiveId" clId="{599CADFA-D486-4728-8AA5-E91C358761D0}" dt="2019-01-05T13:04:09.124" v="2020" actId="27918"/>
        <pc:sldMkLst>
          <pc:docMk/>
          <pc:sldMk cId="1968032004" sldId="497"/>
        </pc:sldMkLst>
        <pc:spChg chg="mod">
          <ac:chgData name="Rukmono Erwan" userId="059128fe0edb09ee" providerId="LiveId" clId="{599CADFA-D486-4728-8AA5-E91C358761D0}" dt="2019-01-05T13:03:07.008" v="2015"/>
          <ac:spMkLst>
            <pc:docMk/>
            <pc:sldMk cId="1968032004" sldId="497"/>
            <ac:spMk id="2" creationId="{92B3B6B4-7D92-4A28-A8F6-6DD264D67C93}"/>
          </ac:spMkLst>
        </pc:spChg>
        <pc:graphicFrameChg chg="modGraphic">
          <ac:chgData name="Rukmono Erwan" userId="059128fe0edb09ee" providerId="LiveId" clId="{599CADFA-D486-4728-8AA5-E91C358761D0}" dt="2019-01-05T12:59:47.225" v="2011" actId="14100"/>
          <ac:graphicFrameMkLst>
            <pc:docMk/>
            <pc:sldMk cId="1968032004" sldId="497"/>
            <ac:graphicFrameMk id="4" creationId="{1781580D-F5FE-41BE-9708-56C1C6C4EA9E}"/>
          </ac:graphicFrameMkLst>
        </pc:graphicFrameChg>
      </pc:sldChg>
    </pc:docChg>
  </pc:docChgLst>
  <pc:docChgLst>
    <pc:chgData name="Rukmono Erwan" userId="059128fe0edb09ee" providerId="LiveId" clId="{644FB134-0626-4AD1-BDC3-9F767C8F9529}"/>
    <pc:docChg chg="undo custSel addSld delSld modSld sldOrd">
      <pc:chgData name="Rukmono Erwan" userId="059128fe0edb09ee" providerId="LiveId" clId="{644FB134-0626-4AD1-BDC3-9F767C8F9529}" dt="2018-12-28T08:49:24.764" v="2632" actId="20577"/>
      <pc:docMkLst>
        <pc:docMk/>
      </pc:docMkLst>
      <pc:sldChg chg="addSp delSp modSp">
        <pc:chgData name="Rukmono Erwan" userId="059128fe0edb09ee" providerId="LiveId" clId="{644FB134-0626-4AD1-BDC3-9F767C8F9529}" dt="2018-12-28T06:18:41.085" v="39" actId="14100"/>
        <pc:sldMkLst>
          <pc:docMk/>
          <pc:sldMk cId="1105009735" sldId="256"/>
        </pc:sldMkLst>
        <pc:spChg chg="mod">
          <ac:chgData name="Rukmono Erwan" userId="059128fe0edb09ee" providerId="LiveId" clId="{644FB134-0626-4AD1-BDC3-9F767C8F9529}" dt="2018-12-28T06:18:41.085" v="39" actId="14100"/>
          <ac:spMkLst>
            <pc:docMk/>
            <pc:sldMk cId="1105009735" sldId="256"/>
            <ac:spMk id="2" creationId="{00000000-0000-0000-0000-000000000000}"/>
          </ac:spMkLst>
        </pc:spChg>
        <pc:spChg chg="del">
          <ac:chgData name="Rukmono Erwan" userId="059128fe0edb09ee" providerId="LiveId" clId="{644FB134-0626-4AD1-BDC3-9F767C8F9529}" dt="2018-12-28T06:18:15.736" v="3" actId="478"/>
          <ac:spMkLst>
            <pc:docMk/>
            <pc:sldMk cId="1105009735" sldId="256"/>
            <ac:spMk id="3" creationId="{00000000-0000-0000-0000-000000000000}"/>
          </ac:spMkLst>
        </pc:spChg>
        <pc:spChg chg="del">
          <ac:chgData name="Rukmono Erwan" userId="059128fe0edb09ee" providerId="LiveId" clId="{644FB134-0626-4AD1-BDC3-9F767C8F9529}" dt="2018-12-28T06:17:46.450" v="0" actId="478"/>
          <ac:spMkLst>
            <pc:docMk/>
            <pc:sldMk cId="1105009735" sldId="256"/>
            <ac:spMk id="4" creationId="{489FAB4E-D7FB-4106-9452-773BD5427A41}"/>
          </ac:spMkLst>
        </pc:spChg>
        <pc:spChg chg="add del mod">
          <ac:chgData name="Rukmono Erwan" userId="059128fe0edb09ee" providerId="LiveId" clId="{644FB134-0626-4AD1-BDC3-9F767C8F9529}" dt="2018-12-28T06:18:23.705" v="4" actId="478"/>
          <ac:spMkLst>
            <pc:docMk/>
            <pc:sldMk cId="1105009735" sldId="256"/>
            <ac:spMk id="5" creationId="{B6463D64-6DCD-41FB-9D72-D5FCBBCDA69D}"/>
          </ac:spMkLst>
        </pc:spChg>
        <pc:spChg chg="del">
          <ac:chgData name="Rukmono Erwan" userId="059128fe0edb09ee" providerId="LiveId" clId="{644FB134-0626-4AD1-BDC3-9F767C8F9529}" dt="2018-12-28T06:17:49.057" v="1" actId="478"/>
          <ac:spMkLst>
            <pc:docMk/>
            <pc:sldMk cId="1105009735" sldId="256"/>
            <ac:spMk id="5" creationId="{FB66B38A-A2E1-45CE-8937-4A8D0734579B}"/>
          </ac:spMkLst>
        </pc:spChg>
      </pc:sldChg>
      <pc:sldChg chg="modSp">
        <pc:chgData name="Rukmono Erwan" userId="059128fe0edb09ee" providerId="LiveId" clId="{644FB134-0626-4AD1-BDC3-9F767C8F9529}" dt="2018-12-28T06:20:12.477" v="100" actId="20577"/>
        <pc:sldMkLst>
          <pc:docMk/>
          <pc:sldMk cId="2117610497" sldId="467"/>
        </pc:sldMkLst>
        <pc:graphicFrameChg chg="modGraphic">
          <ac:chgData name="Rukmono Erwan" userId="059128fe0edb09ee" providerId="LiveId" clId="{644FB134-0626-4AD1-BDC3-9F767C8F9529}" dt="2018-12-28T06:20:12.477" v="100" actId="20577"/>
          <ac:graphicFrameMkLst>
            <pc:docMk/>
            <pc:sldMk cId="2117610497" sldId="467"/>
            <ac:graphicFrameMk id="3" creationId="{50C31FD3-8B63-46FD-91B3-5D38864CFA78}"/>
          </ac:graphicFrameMkLst>
        </pc:graphicFrameChg>
      </pc:sldChg>
      <pc:sldChg chg="addSp modSp add ord">
        <pc:chgData name="Rukmono Erwan" userId="059128fe0edb09ee" providerId="LiveId" clId="{644FB134-0626-4AD1-BDC3-9F767C8F9529}" dt="2018-12-28T06:48:08.357" v="721" actId="1076"/>
        <pc:sldMkLst>
          <pc:docMk/>
          <pc:sldMk cId="1936343304" sldId="469"/>
        </pc:sldMkLst>
        <pc:spChg chg="mod">
          <ac:chgData name="Rukmono Erwan" userId="059128fe0edb09ee" providerId="LiveId" clId="{644FB134-0626-4AD1-BDC3-9F767C8F9529}" dt="2018-12-28T06:39:03.939" v="195" actId="20577"/>
          <ac:spMkLst>
            <pc:docMk/>
            <pc:sldMk cId="1936343304" sldId="469"/>
            <ac:spMk id="2" creationId="{92B3B6B4-7D92-4A28-A8F6-6DD264D67C93}"/>
          </ac:spMkLst>
        </pc:spChg>
        <pc:graphicFrameChg chg="add mod modGraphic">
          <ac:chgData name="Rukmono Erwan" userId="059128fe0edb09ee" providerId="LiveId" clId="{644FB134-0626-4AD1-BDC3-9F767C8F9529}" dt="2018-12-28T06:48:08.357" v="721" actId="1076"/>
          <ac:graphicFrameMkLst>
            <pc:docMk/>
            <pc:sldMk cId="1936343304" sldId="469"/>
            <ac:graphicFrameMk id="3" creationId="{BAF1B21F-230E-40CE-93DC-43C43611D930}"/>
          </ac:graphicFrameMkLst>
        </pc:graphicFrameChg>
      </pc:sldChg>
      <pc:sldChg chg="add">
        <pc:chgData name="Rukmono Erwan" userId="059128fe0edb09ee" providerId="LiveId" clId="{644FB134-0626-4AD1-BDC3-9F767C8F9529}" dt="2018-12-28T06:21:38.670" v="103" actId="1076"/>
        <pc:sldMkLst>
          <pc:docMk/>
          <pc:sldMk cId="1694946973" sldId="471"/>
        </pc:sldMkLst>
      </pc:sldChg>
      <pc:sldChg chg="delSp modSp add ord">
        <pc:chgData name="Rukmono Erwan" userId="059128fe0edb09ee" providerId="LiveId" clId="{644FB134-0626-4AD1-BDC3-9F767C8F9529}" dt="2018-12-28T08:14:47.196" v="2409" actId="20577"/>
        <pc:sldMkLst>
          <pc:docMk/>
          <pc:sldMk cId="1482756987" sldId="475"/>
        </pc:sldMkLst>
        <pc:spChg chg="mod">
          <ac:chgData name="Rukmono Erwan" userId="059128fe0edb09ee" providerId="LiveId" clId="{644FB134-0626-4AD1-BDC3-9F767C8F9529}" dt="2018-12-28T06:35:55.793" v="117" actId="20577"/>
          <ac:spMkLst>
            <pc:docMk/>
            <pc:sldMk cId="1482756987" sldId="475"/>
            <ac:spMk id="2" creationId="{92B3B6B4-7D92-4A28-A8F6-6DD264D67C93}"/>
          </ac:spMkLst>
        </pc:spChg>
        <pc:spChg chg="del">
          <ac:chgData name="Rukmono Erwan" userId="059128fe0edb09ee" providerId="LiveId" clId="{644FB134-0626-4AD1-BDC3-9F767C8F9529}" dt="2018-12-28T06:35:51.103" v="111" actId="478"/>
          <ac:spMkLst>
            <pc:docMk/>
            <pc:sldMk cId="1482756987" sldId="475"/>
            <ac:spMk id="10" creationId="{1505CF35-9495-4C45-A530-9D0C5F62C10E}"/>
          </ac:spMkLst>
        </pc:spChg>
      </pc:sldChg>
      <pc:sldChg chg="modSp add">
        <pc:chgData name="Rukmono Erwan" userId="059128fe0edb09ee" providerId="LiveId" clId="{644FB134-0626-4AD1-BDC3-9F767C8F9529}" dt="2018-12-28T08:47:49.499" v="2621" actId="1076"/>
        <pc:sldMkLst>
          <pc:docMk/>
          <pc:sldMk cId="3400728645" sldId="476"/>
        </pc:sldMkLst>
        <pc:spChg chg="mod">
          <ac:chgData name="Rukmono Erwan" userId="059128fe0edb09ee" providerId="LiveId" clId="{644FB134-0626-4AD1-BDC3-9F767C8F9529}" dt="2018-12-28T06:45:54.368" v="670" actId="20577"/>
          <ac:spMkLst>
            <pc:docMk/>
            <pc:sldMk cId="3400728645" sldId="476"/>
            <ac:spMk id="2" creationId="{92B3B6B4-7D92-4A28-A8F6-6DD264D67C93}"/>
          </ac:spMkLst>
        </pc:spChg>
        <pc:graphicFrameChg chg="mod modGraphic">
          <ac:chgData name="Rukmono Erwan" userId="059128fe0edb09ee" providerId="LiveId" clId="{644FB134-0626-4AD1-BDC3-9F767C8F9529}" dt="2018-12-28T08:47:49.499" v="2621" actId="1076"/>
          <ac:graphicFrameMkLst>
            <pc:docMk/>
            <pc:sldMk cId="3400728645" sldId="476"/>
            <ac:graphicFrameMk id="3" creationId="{BAF1B21F-230E-40CE-93DC-43C43611D930}"/>
          </ac:graphicFrameMkLst>
        </pc:graphicFrameChg>
      </pc:sldChg>
      <pc:sldChg chg="modSp add">
        <pc:chgData name="Rukmono Erwan" userId="059128fe0edb09ee" providerId="LiveId" clId="{644FB134-0626-4AD1-BDC3-9F767C8F9529}" dt="2018-12-28T08:49:24.764" v="2632" actId="20577"/>
        <pc:sldMkLst>
          <pc:docMk/>
          <pc:sldMk cId="3220820160" sldId="477"/>
        </pc:sldMkLst>
        <pc:spChg chg="mod">
          <ac:chgData name="Rukmono Erwan" userId="059128fe0edb09ee" providerId="LiveId" clId="{644FB134-0626-4AD1-BDC3-9F767C8F9529}" dt="2018-12-28T07:22:41.057" v="1544" actId="20577"/>
          <ac:spMkLst>
            <pc:docMk/>
            <pc:sldMk cId="3220820160" sldId="477"/>
            <ac:spMk id="2" creationId="{92B3B6B4-7D92-4A28-A8F6-6DD264D67C93}"/>
          </ac:spMkLst>
        </pc:spChg>
        <pc:graphicFrameChg chg="mod modGraphic">
          <ac:chgData name="Rukmono Erwan" userId="059128fe0edb09ee" providerId="LiveId" clId="{644FB134-0626-4AD1-BDC3-9F767C8F9529}" dt="2018-12-28T08:49:24.764" v="2632" actId="20577"/>
          <ac:graphicFrameMkLst>
            <pc:docMk/>
            <pc:sldMk cId="3220820160" sldId="477"/>
            <ac:graphicFrameMk id="3" creationId="{BAF1B21F-230E-40CE-93DC-43C43611D930}"/>
          </ac:graphicFrameMkLst>
        </pc:graphicFrameChg>
      </pc:sldChg>
    </pc:docChg>
  </pc:docChgLst>
  <pc:docChgLst>
    <pc:chgData name="Rukmono Erwan" userId="059128fe0edb09ee" providerId="LiveId" clId="{F8666B02-5B0E-4786-8131-5421D5AC19D6}"/>
    <pc:docChg chg="undo custSel addSld modSld sldOrd">
      <pc:chgData name="Rukmono Erwan" userId="059128fe0edb09ee" providerId="LiveId" clId="{F8666B02-5B0E-4786-8131-5421D5AC19D6}" dt="2019-01-18T12:07:26.858" v="62" actId="20577"/>
      <pc:docMkLst>
        <pc:docMk/>
      </pc:docMkLst>
      <pc:sldChg chg="modTransition">
        <pc:chgData name="Rukmono Erwan" userId="059128fe0edb09ee" providerId="LiveId" clId="{F8666B02-5B0E-4786-8131-5421D5AC19D6}" dt="2019-01-18T11:46:36.361" v="4"/>
        <pc:sldMkLst>
          <pc:docMk/>
          <pc:sldMk cId="2316158616" sldId="478"/>
        </pc:sldMkLst>
      </pc:sldChg>
      <pc:sldChg chg="ord">
        <pc:chgData name="Rukmono Erwan" userId="059128fe0edb09ee" providerId="LiveId" clId="{F8666B02-5B0E-4786-8131-5421D5AC19D6}" dt="2019-01-18T11:46:41.963" v="5"/>
        <pc:sldMkLst>
          <pc:docMk/>
          <pc:sldMk cId="1669516501" sldId="482"/>
        </pc:sldMkLst>
      </pc:sldChg>
      <pc:sldChg chg="ord">
        <pc:chgData name="Rukmono Erwan" userId="059128fe0edb09ee" providerId="LiveId" clId="{F8666B02-5B0E-4786-8131-5421D5AC19D6}" dt="2019-01-18T11:46:53.344" v="7"/>
        <pc:sldMkLst>
          <pc:docMk/>
          <pc:sldMk cId="3456918953" sldId="498"/>
        </pc:sldMkLst>
      </pc:sldChg>
      <pc:sldChg chg="modTransition">
        <pc:chgData name="Rukmono Erwan" userId="059128fe0edb09ee" providerId="LiveId" clId="{F8666B02-5B0E-4786-8131-5421D5AC19D6}" dt="2019-01-18T11:46:25.713" v="3"/>
        <pc:sldMkLst>
          <pc:docMk/>
          <pc:sldMk cId="2983412804" sldId="501"/>
        </pc:sldMkLst>
      </pc:sldChg>
      <pc:sldChg chg="ord">
        <pc:chgData name="Rukmono Erwan" userId="059128fe0edb09ee" providerId="LiveId" clId="{F8666B02-5B0E-4786-8131-5421D5AC19D6}" dt="2019-01-18T11:46:45.919" v="6"/>
        <pc:sldMkLst>
          <pc:docMk/>
          <pc:sldMk cId="2198392439" sldId="502"/>
        </pc:sldMkLst>
      </pc:sldChg>
      <pc:sldChg chg="addSp delSp modSp add">
        <pc:chgData name="Rukmono Erwan" userId="059128fe0edb09ee" providerId="LiveId" clId="{F8666B02-5B0E-4786-8131-5421D5AC19D6}" dt="2019-01-18T12:07:26.858" v="62" actId="20577"/>
        <pc:sldMkLst>
          <pc:docMk/>
          <pc:sldMk cId="3510302941" sldId="503"/>
        </pc:sldMkLst>
        <pc:spChg chg="mod">
          <ac:chgData name="Rukmono Erwan" userId="059128fe0edb09ee" providerId="LiveId" clId="{F8666B02-5B0E-4786-8131-5421D5AC19D6}" dt="2019-01-18T12:07:26.858" v="62" actId="20577"/>
          <ac:spMkLst>
            <pc:docMk/>
            <pc:sldMk cId="3510302941" sldId="503"/>
            <ac:spMk id="2" creationId="{92B3B6B4-7D92-4A28-A8F6-6DD264D67C93}"/>
          </ac:spMkLst>
        </pc:spChg>
        <pc:graphicFrameChg chg="add del mod modGraphic">
          <ac:chgData name="Rukmono Erwan" userId="059128fe0edb09ee" providerId="LiveId" clId="{F8666B02-5B0E-4786-8131-5421D5AC19D6}" dt="2019-01-18T12:05:47.920" v="60" actId="20577"/>
          <ac:graphicFrameMkLst>
            <pc:docMk/>
            <pc:sldMk cId="3510302941" sldId="503"/>
            <ac:graphicFrameMk id="4" creationId="{1781580D-F5FE-41BE-9708-56C1C6C4EA9E}"/>
          </ac:graphicFrameMkLst>
        </pc:graphicFrameChg>
        <pc:graphicFrameChg chg="del">
          <ac:chgData name="Rukmono Erwan" userId="059128fe0edb09ee" providerId="LiveId" clId="{F8666B02-5B0E-4786-8131-5421D5AC19D6}" dt="2019-01-18T12:01:19.737" v="19" actId="478"/>
          <ac:graphicFrameMkLst>
            <pc:docMk/>
            <pc:sldMk cId="3510302941" sldId="503"/>
            <ac:graphicFrameMk id="6" creationId="{2A57C98F-8968-42C8-B2B0-779787A84BDE}"/>
          </ac:graphicFrameMkLst>
        </pc:graphicFrameChg>
      </pc:sldChg>
    </pc:docChg>
  </pc:docChgLst>
  <pc:docChgLst>
    <pc:chgData name="Rukmono Erwan" userId="059128fe0edb09ee" providerId="Windows Live" clId="Web-{BC2782E7-46A1-46D8-9CC0-1FD8C05B1D79}"/>
    <pc:docChg chg="addSld delSld modSld sldOrd">
      <pc:chgData name="Rukmono Erwan" userId="059128fe0edb09ee" providerId="Windows Live" clId="Web-{BC2782E7-46A1-46D8-9CC0-1FD8C05B1D79}" dt="2018-12-11T16:34:48.693" v="280" actId="14100"/>
      <pc:docMkLst>
        <pc:docMk/>
      </pc:docMkLst>
    </pc:docChg>
  </pc:docChgLst>
  <pc:docChgLst>
    <pc:chgData name="Rukmono Erwan" userId="059128fe0edb09ee" providerId="LiveId" clId="{5AEF84E3-C6A2-4DE2-BEC0-8141FDEDE769}"/>
    <pc:docChg chg="undo custSel addSld delSld modSld sldOrd">
      <pc:chgData name="Rukmono Erwan" userId="059128fe0edb09ee" providerId="LiveId" clId="{5AEF84E3-C6A2-4DE2-BEC0-8141FDEDE769}" dt="2018-12-14T12:11:25.410" v="3394" actId="2696"/>
      <pc:docMkLst>
        <pc:docMk/>
      </pc:docMkLst>
      <pc:sldChg chg="modSp">
        <pc:chgData name="Rukmono Erwan" userId="059128fe0edb09ee" providerId="LiveId" clId="{5AEF84E3-C6A2-4DE2-BEC0-8141FDEDE769}" dt="2018-12-13T08:12:26.273" v="9" actId="20577"/>
        <pc:sldMkLst>
          <pc:docMk/>
          <pc:sldMk cId="1105009735" sldId="256"/>
        </pc:sldMkLst>
        <pc:spChg chg="mod">
          <ac:chgData name="Rukmono Erwan" userId="059128fe0edb09ee" providerId="LiveId" clId="{5AEF84E3-C6A2-4DE2-BEC0-8141FDEDE769}" dt="2018-12-13T08:12:26.273" v="9" actId="20577"/>
          <ac:spMkLst>
            <pc:docMk/>
            <pc:sldMk cId="1105009735" sldId="256"/>
            <ac:spMk id="3" creationId="{00000000-0000-0000-0000-000000000000}"/>
          </ac:spMkLst>
        </pc:spChg>
      </pc:sldChg>
      <pc:sldChg chg="addSp delSp modSp">
        <pc:chgData name="Rukmono Erwan" userId="059128fe0edb09ee" providerId="LiveId" clId="{5AEF84E3-C6A2-4DE2-BEC0-8141FDEDE769}" dt="2018-12-13T08:20:22.841" v="247" actId="113"/>
        <pc:sldMkLst>
          <pc:docMk/>
          <pc:sldMk cId="2117610497" sldId="467"/>
        </pc:sldMkLst>
        <pc:spChg chg="mod">
          <ac:chgData name="Rukmono Erwan" userId="059128fe0edb09ee" providerId="LiveId" clId="{5AEF84E3-C6A2-4DE2-BEC0-8141FDEDE769}" dt="2018-12-13T08:15:39.531" v="33" actId="20577"/>
          <ac:spMkLst>
            <pc:docMk/>
            <pc:sldMk cId="2117610497" sldId="467"/>
            <ac:spMk id="2" creationId="{92B3B6B4-7D92-4A28-A8F6-6DD264D67C93}"/>
          </ac:spMkLst>
        </pc:spChg>
        <pc:spChg chg="del">
          <ac:chgData name="Rukmono Erwan" userId="059128fe0edb09ee" providerId="LiveId" clId="{5AEF84E3-C6A2-4DE2-BEC0-8141FDEDE769}" dt="2018-12-13T08:15:33.105" v="11" actId="478"/>
          <ac:spMkLst>
            <pc:docMk/>
            <pc:sldMk cId="2117610497" sldId="467"/>
            <ac:spMk id="7" creationId="{C32D30E7-F10C-4D79-B1C7-B650C99779EF}"/>
          </ac:spMkLst>
        </pc:spChg>
        <pc:graphicFrameChg chg="add mod modGraphic">
          <ac:chgData name="Rukmono Erwan" userId="059128fe0edb09ee" providerId="LiveId" clId="{5AEF84E3-C6A2-4DE2-BEC0-8141FDEDE769}" dt="2018-12-13T08:20:22.841" v="247" actId="113"/>
          <ac:graphicFrameMkLst>
            <pc:docMk/>
            <pc:sldMk cId="2117610497" sldId="467"/>
            <ac:graphicFrameMk id="3" creationId="{50C31FD3-8B63-46FD-91B3-5D38864CFA78}"/>
          </ac:graphicFrameMkLst>
        </pc:graphicFrameChg>
        <pc:graphicFrameChg chg="del">
          <ac:chgData name="Rukmono Erwan" userId="059128fe0edb09ee" providerId="LiveId" clId="{5AEF84E3-C6A2-4DE2-BEC0-8141FDEDE769}" dt="2018-12-13T08:15:33.105" v="11" actId="478"/>
          <ac:graphicFrameMkLst>
            <pc:docMk/>
            <pc:sldMk cId="2117610497" sldId="467"/>
            <ac:graphicFrameMk id="5" creationId="{11A77460-5A3E-41B5-ACA0-D550FBC2E2BC}"/>
          </ac:graphicFrameMkLst>
        </pc:graphicFrameChg>
      </pc:sldChg>
    </pc:docChg>
  </pc:docChgLst>
  <pc:docChgLst>
    <pc:chgData name="Rukmono Erwan" userId="059128fe0edb09ee" providerId="Windows Live" clId="Web-{E0861140-CBAF-4C97-9236-335E7014984A}"/>
    <pc:docChg chg="modSld">
      <pc:chgData name="Rukmono Erwan" userId="059128fe0edb09ee" providerId="Windows Live" clId="Web-{E0861140-CBAF-4C97-9236-335E7014984A}" dt="2018-12-11T15:55:19.788" v="3" actId="20577"/>
      <pc:docMkLst>
        <pc:docMk/>
      </pc:docMkLst>
      <pc:sldChg chg="modSp">
        <pc:chgData name="Rukmono Erwan" userId="059128fe0edb09ee" providerId="Windows Live" clId="Web-{E0861140-CBAF-4C97-9236-335E7014984A}" dt="2018-12-11T15:55:19.772" v="2" actId="20577"/>
        <pc:sldMkLst>
          <pc:docMk/>
          <pc:sldMk cId="1105009735" sldId="256"/>
        </pc:sldMkLst>
        <pc:spChg chg="mod">
          <ac:chgData name="Rukmono Erwan" userId="059128fe0edb09ee" providerId="Windows Live" clId="Web-{E0861140-CBAF-4C97-9236-335E7014984A}" dt="2018-12-11T15:55:19.772" v="2" actId="20577"/>
          <ac:spMkLst>
            <pc:docMk/>
            <pc:sldMk cId="1105009735" sldId="256"/>
            <ac:spMk id="3" creationId="{00000000-0000-0000-0000-000000000000}"/>
          </ac:spMkLst>
        </pc:spChg>
      </pc:sldChg>
    </pc:docChg>
  </pc:docChgLst>
  <pc:docChgLst>
    <pc:chgData name="Rukmono Erwan" userId="059128fe0edb09ee" providerId="LiveId" clId="{B59CAB99-4AFC-47FE-B4E6-3F0CACE0F5D1}"/>
    <pc:docChg chg="undo custSel addSld delSld modSld">
      <pc:chgData name="Rukmono Erwan" userId="059128fe0edb09ee" providerId="LiveId" clId="{B59CAB99-4AFC-47FE-B4E6-3F0CACE0F5D1}" dt="2019-01-10T09:35:53.286" v="451" actId="20577"/>
      <pc:docMkLst>
        <pc:docMk/>
      </pc:docMkLst>
      <pc:sldChg chg="modSp">
        <pc:chgData name="Rukmono Erwan" userId="059128fe0edb09ee" providerId="LiveId" clId="{B59CAB99-4AFC-47FE-B4E6-3F0CACE0F5D1}" dt="2019-01-10T09:35:53.286" v="451" actId="20577"/>
        <pc:sldMkLst>
          <pc:docMk/>
          <pc:sldMk cId="2117610497" sldId="467"/>
        </pc:sldMkLst>
        <pc:graphicFrameChg chg="mod modGraphic">
          <ac:chgData name="Rukmono Erwan" userId="059128fe0edb09ee" providerId="LiveId" clId="{B59CAB99-4AFC-47FE-B4E6-3F0CACE0F5D1}" dt="2019-01-10T09:35:53.286" v="451" actId="20577"/>
          <ac:graphicFrameMkLst>
            <pc:docMk/>
            <pc:sldMk cId="2117610497" sldId="467"/>
            <ac:graphicFrameMk id="3" creationId="{50C31FD3-8B63-46FD-91B3-5D38864CFA78}"/>
          </ac:graphicFrameMkLst>
        </pc:graphicFrameChg>
      </pc:sldChg>
      <pc:sldChg chg="addSp modSp">
        <pc:chgData name="Rukmono Erwan" userId="059128fe0edb09ee" providerId="LiveId" clId="{B59CAB99-4AFC-47FE-B4E6-3F0CACE0F5D1}" dt="2019-01-10T08:43:21.319" v="261" actId="207"/>
        <pc:sldMkLst>
          <pc:docMk/>
          <pc:sldMk cId="1694946973" sldId="471"/>
        </pc:sldMkLst>
        <pc:graphicFrameChg chg="mod modGraphic">
          <ac:chgData name="Rukmono Erwan" userId="059128fe0edb09ee" providerId="LiveId" clId="{B59CAB99-4AFC-47FE-B4E6-3F0CACE0F5D1}" dt="2019-01-10T08:43:21.319" v="261" actId="207"/>
          <ac:graphicFrameMkLst>
            <pc:docMk/>
            <pc:sldMk cId="1694946973" sldId="471"/>
            <ac:graphicFrameMk id="3" creationId="{A13A0288-31FD-455D-85DA-93E2696A433A}"/>
          </ac:graphicFrameMkLst>
        </pc:graphicFrameChg>
        <pc:graphicFrameChg chg="add mod modGraphic">
          <ac:chgData name="Rukmono Erwan" userId="059128fe0edb09ee" providerId="LiveId" clId="{B59CAB99-4AFC-47FE-B4E6-3F0CACE0F5D1}" dt="2019-01-10T08:37:51.020" v="259" actId="2166"/>
          <ac:graphicFrameMkLst>
            <pc:docMk/>
            <pc:sldMk cId="1694946973" sldId="471"/>
            <ac:graphicFrameMk id="4" creationId="{A699567B-2750-47C4-91F0-FC753F7AA028}"/>
          </ac:graphicFrameMkLst>
        </pc:graphicFrameChg>
      </pc:sldChg>
      <pc:sldChg chg="modSp">
        <pc:chgData name="Rukmono Erwan" userId="059128fe0edb09ee" providerId="LiveId" clId="{B59CAB99-4AFC-47FE-B4E6-3F0CACE0F5D1}" dt="2019-01-10T09:32:03.343" v="326" actId="20577"/>
        <pc:sldMkLst>
          <pc:docMk/>
          <pc:sldMk cId="2202318049" sldId="481"/>
        </pc:sldMkLst>
        <pc:graphicFrameChg chg="mod modGraphic">
          <ac:chgData name="Rukmono Erwan" userId="059128fe0edb09ee" providerId="LiveId" clId="{B59CAB99-4AFC-47FE-B4E6-3F0CACE0F5D1}" dt="2019-01-10T09:32:03.343" v="326" actId="20577"/>
          <ac:graphicFrameMkLst>
            <pc:docMk/>
            <pc:sldMk cId="2202318049" sldId="481"/>
            <ac:graphicFrameMk id="4" creationId="{1781580D-F5FE-41BE-9708-56C1C6C4EA9E}"/>
          </ac:graphicFrameMkLst>
        </pc:graphicFrameChg>
      </pc:sldChg>
      <pc:sldChg chg="modSp">
        <pc:chgData name="Rukmono Erwan" userId="059128fe0edb09ee" providerId="LiveId" clId="{B59CAB99-4AFC-47FE-B4E6-3F0CACE0F5D1}" dt="2019-01-10T07:37:48.440" v="15" actId="20577"/>
        <pc:sldMkLst>
          <pc:docMk/>
          <pc:sldMk cId="1669516501" sldId="482"/>
        </pc:sldMkLst>
        <pc:spChg chg="mod">
          <ac:chgData name="Rukmono Erwan" userId="059128fe0edb09ee" providerId="LiveId" clId="{B59CAB99-4AFC-47FE-B4E6-3F0CACE0F5D1}" dt="2019-01-10T07:37:48.440" v="15" actId="20577"/>
          <ac:spMkLst>
            <pc:docMk/>
            <pc:sldMk cId="1669516501" sldId="482"/>
            <ac:spMk id="2" creationId="{92B3B6B4-7D92-4A28-A8F6-6DD264D67C93}"/>
          </ac:spMkLst>
        </pc:spChg>
      </pc:sldChg>
      <pc:sldChg chg="modSp">
        <pc:chgData name="Rukmono Erwan" userId="059128fe0edb09ee" providerId="LiveId" clId="{B59CAB99-4AFC-47FE-B4E6-3F0CACE0F5D1}" dt="2019-01-10T09:32:46.711" v="339" actId="20577"/>
        <pc:sldMkLst>
          <pc:docMk/>
          <pc:sldMk cId="1610044625" sldId="493"/>
        </pc:sldMkLst>
        <pc:graphicFrameChg chg="mod modGraphic">
          <ac:chgData name="Rukmono Erwan" userId="059128fe0edb09ee" providerId="LiveId" clId="{B59CAB99-4AFC-47FE-B4E6-3F0CACE0F5D1}" dt="2019-01-10T09:32:46.711" v="339" actId="20577"/>
          <ac:graphicFrameMkLst>
            <pc:docMk/>
            <pc:sldMk cId="1610044625" sldId="493"/>
            <ac:graphicFrameMk id="4" creationId="{1781580D-F5FE-41BE-9708-56C1C6C4EA9E}"/>
          </ac:graphicFrameMkLst>
        </pc:graphicFrameChg>
      </pc:sldChg>
      <pc:sldChg chg="modSp">
        <pc:chgData name="Rukmono Erwan" userId="059128fe0edb09ee" providerId="LiveId" clId="{B59CAB99-4AFC-47FE-B4E6-3F0CACE0F5D1}" dt="2019-01-10T09:30:30.094" v="313" actId="6549"/>
        <pc:sldMkLst>
          <pc:docMk/>
          <pc:sldMk cId="1968032004" sldId="497"/>
        </pc:sldMkLst>
        <pc:graphicFrameChg chg="modGraphic">
          <ac:chgData name="Rukmono Erwan" userId="059128fe0edb09ee" providerId="LiveId" clId="{B59CAB99-4AFC-47FE-B4E6-3F0CACE0F5D1}" dt="2019-01-10T09:30:30.094" v="313" actId="6549"/>
          <ac:graphicFrameMkLst>
            <pc:docMk/>
            <pc:sldMk cId="1968032004" sldId="497"/>
            <ac:graphicFrameMk id="4" creationId="{1781580D-F5FE-41BE-9708-56C1C6C4EA9E}"/>
          </ac:graphicFrameMkLst>
        </pc:graphicFrameChg>
      </pc:sldChg>
      <pc:sldChg chg="delSp modSp add">
        <pc:chgData name="Rukmono Erwan" userId="059128fe0edb09ee" providerId="LiveId" clId="{B59CAB99-4AFC-47FE-B4E6-3F0CACE0F5D1}" dt="2019-01-10T08:21:52.400" v="214" actId="14100"/>
        <pc:sldMkLst>
          <pc:docMk/>
          <pc:sldMk cId="2983412804" sldId="501"/>
        </pc:sldMkLst>
        <pc:graphicFrameChg chg="mod modGraphic">
          <ac:chgData name="Rukmono Erwan" userId="059128fe0edb09ee" providerId="LiveId" clId="{B59CAB99-4AFC-47FE-B4E6-3F0CACE0F5D1}" dt="2019-01-10T08:21:52.400" v="214" actId="14100"/>
          <ac:graphicFrameMkLst>
            <pc:docMk/>
            <pc:sldMk cId="2983412804" sldId="501"/>
            <ac:graphicFrameMk id="4" creationId="{1781580D-F5FE-41BE-9708-56C1C6C4EA9E}"/>
          </ac:graphicFrameMkLst>
        </pc:graphicFrameChg>
        <pc:graphicFrameChg chg="del">
          <ac:chgData name="Rukmono Erwan" userId="059128fe0edb09ee" providerId="LiveId" clId="{B59CAB99-4AFC-47FE-B4E6-3F0CACE0F5D1}" dt="2019-01-10T08:20:25.486" v="180" actId="478"/>
          <ac:graphicFrameMkLst>
            <pc:docMk/>
            <pc:sldMk cId="2983412804" sldId="501"/>
            <ac:graphicFrameMk id="24" creationId="{B2CB37D5-C1F3-49B3-8199-95306AECA174}"/>
          </ac:graphicFrameMkLst>
        </pc:graphicFrameChg>
      </pc:sldChg>
      <pc:sldChg chg="modSp add">
        <pc:chgData name="Rukmono Erwan" userId="059128fe0edb09ee" providerId="LiveId" clId="{B59CAB99-4AFC-47FE-B4E6-3F0CACE0F5D1}" dt="2019-01-10T08:23:57.330" v="245" actId="255"/>
        <pc:sldMkLst>
          <pc:docMk/>
          <pc:sldMk cId="2198392439" sldId="502"/>
        </pc:sldMkLst>
        <pc:spChg chg="mod">
          <ac:chgData name="Rukmono Erwan" userId="059128fe0edb09ee" providerId="LiveId" clId="{B59CAB99-4AFC-47FE-B4E6-3F0CACE0F5D1}" dt="2019-01-10T08:20:06.793" v="178" actId="20577"/>
          <ac:spMkLst>
            <pc:docMk/>
            <pc:sldMk cId="2198392439" sldId="502"/>
            <ac:spMk id="2" creationId="{92B3B6B4-7D92-4A28-A8F6-6DD264D67C93}"/>
          </ac:spMkLst>
        </pc:spChg>
        <pc:graphicFrameChg chg="mod modGraphic">
          <ac:chgData name="Rukmono Erwan" userId="059128fe0edb09ee" providerId="LiveId" clId="{B59CAB99-4AFC-47FE-B4E6-3F0CACE0F5D1}" dt="2019-01-10T08:23:57.330" v="245" actId="255"/>
          <ac:graphicFrameMkLst>
            <pc:docMk/>
            <pc:sldMk cId="2198392439" sldId="502"/>
            <ac:graphicFrameMk id="4" creationId="{1781580D-F5FE-41BE-9708-56C1C6C4EA9E}"/>
          </ac:graphicFrameMkLst>
        </pc:graphicFrameChg>
        <pc:graphicFrameChg chg="mod">
          <ac:chgData name="Rukmono Erwan" userId="059128fe0edb09ee" providerId="LiveId" clId="{B59CAB99-4AFC-47FE-B4E6-3F0CACE0F5D1}" dt="2019-01-10T08:21:22.417" v="210" actId="20577"/>
          <ac:graphicFrameMkLst>
            <pc:docMk/>
            <pc:sldMk cId="2198392439" sldId="502"/>
            <ac:graphicFrameMk id="10" creationId="{859A8ACD-53FF-4208-B592-99DE673A01ED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ndpoint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nageabl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167</c:v>
                </c:pt>
                <c:pt idx="1">
                  <c:v>9485</c:v>
                </c:pt>
                <c:pt idx="2">
                  <c:v>9706</c:v>
                </c:pt>
                <c:pt idx="3">
                  <c:v>9691</c:v>
                </c:pt>
                <c:pt idx="4">
                  <c:v>8521</c:v>
                </c:pt>
                <c:pt idx="5">
                  <c:v>7675</c:v>
                </c:pt>
                <c:pt idx="6">
                  <c:v>7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upda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83</c:v>
                </c:pt>
                <c:pt idx="1">
                  <c:v>549</c:v>
                </c:pt>
                <c:pt idx="2">
                  <c:v>186</c:v>
                </c:pt>
                <c:pt idx="3">
                  <c:v>104</c:v>
                </c:pt>
                <c:pt idx="4">
                  <c:v>436</c:v>
                </c:pt>
                <c:pt idx="5">
                  <c:v>100</c:v>
                </c:pt>
                <c:pt idx="6">
                  <c:v>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50-46C3-B8F9-773734E57D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instal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90</c:v>
                </c:pt>
                <c:pt idx="1">
                  <c:v>92</c:v>
                </c:pt>
                <c:pt idx="2">
                  <c:v>204</c:v>
                </c:pt>
                <c:pt idx="3">
                  <c:v>96</c:v>
                </c:pt>
                <c:pt idx="4">
                  <c:v>85</c:v>
                </c:pt>
                <c:pt idx="5">
                  <c:v>76</c:v>
                </c:pt>
                <c:pt idx="6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50-46C3-B8F9-773734E57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405248"/>
        <c:axId val="213059072"/>
      </c:lineChart>
      <c:catAx>
        <c:axId val="21240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059072"/>
        <c:crosses val="autoZero"/>
        <c:auto val="1"/>
        <c:lblAlgn val="ctr"/>
        <c:lblOffset val="100"/>
        <c:noMultiLvlLbl val="0"/>
      </c:catAx>
      <c:valAx>
        <c:axId val="213059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40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dirty="0"/>
              <a:t>Top Ten Location</a:t>
            </a:r>
            <a:r>
              <a:rPr lang="en-US" sz="1400" b="0" baseline="0" dirty="0"/>
              <a:t> - Adware</a:t>
            </a:r>
            <a:endParaRPr lang="en-US" sz="1400" b="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r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B4A-4FAE-9729-D4BB5BBA242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B4A-4FAE-9729-D4BB5BBA242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B4A-4FAE-9729-D4BB5BBA242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B4A-4FAE-9729-D4BB5BBA242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B4A-4FAE-9729-D4BB5BBA242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Head Office MB</c:v>
                </c:pt>
                <c:pt idx="1">
                  <c:v>KC Mataram</c:v>
                </c:pt>
                <c:pt idx="2">
                  <c:v>KC Pematang Siantar</c:v>
                </c:pt>
                <c:pt idx="3">
                  <c:v>RFC1918</c:v>
                </c:pt>
                <c:pt idx="4">
                  <c:v>RFC1918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4</c:v>
                </c:pt>
                <c:pt idx="1">
                  <c:v>7</c:v>
                </c:pt>
                <c:pt idx="2">
                  <c:v>4</c:v>
                </c:pt>
                <c:pt idx="3">
                  <c:v>10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B4A-4FAE-9729-D4BB5BBA242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Top Ten Location</a:t>
            </a:r>
            <a:r>
              <a:rPr lang="en-US" sz="1400" baseline="0" dirty="0"/>
              <a:t> - Virus</a:t>
            </a:r>
            <a:endParaRPr lang="en-US" sz="14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r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3A-4CFF-8298-7CB16FA504D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3A-4CFF-8298-7CB16FA504D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43A-4CFF-8298-7CB16FA504D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42-488F-8C43-D7708F940E8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F42-488F-8C43-D7708F940E8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F42-488F-8C43-D7708F940E84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F42-488F-8C43-D7708F940E84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F42-488F-8C43-D7708F940E84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F42-488F-8C43-D7708F940E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0</c:f>
              <c:strCache>
                <c:ptCount val="9"/>
                <c:pt idx="0">
                  <c:v>KC Jambi</c:v>
                </c:pt>
                <c:pt idx="1">
                  <c:v>KC Manado</c:v>
                </c:pt>
                <c:pt idx="2">
                  <c:v>KCP Blitar</c:v>
                </c:pt>
                <c:pt idx="3">
                  <c:v>KCP Delanggu</c:v>
                </c:pt>
                <c:pt idx="4">
                  <c:v>KCP Kualapuas</c:v>
                </c:pt>
                <c:pt idx="5">
                  <c:v>KCP Watampone</c:v>
                </c:pt>
                <c:pt idx="6">
                  <c:v>KK Kotamubago</c:v>
                </c:pt>
                <c:pt idx="7">
                  <c:v>UMK Tanjung</c:v>
                </c:pt>
                <c:pt idx="8">
                  <c:v>UMK Tebing Tinggi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11</c:v>
                </c:pt>
                <c:pt idx="5">
                  <c:v>6</c:v>
                </c:pt>
                <c:pt idx="6">
                  <c:v>3</c:v>
                </c:pt>
                <c:pt idx="7">
                  <c:v>1</c:v>
                </c:pt>
                <c:pt idx="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43A-4CFF-8298-7CB16FA504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Block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P public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July</c:v>
                </c:pt>
                <c:pt idx="1">
                  <c:v>Agustus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134</c:v>
                </c:pt>
                <c:pt idx="1">
                  <c:v>9205</c:v>
                </c:pt>
                <c:pt idx="2">
                  <c:v>10620</c:v>
                </c:pt>
                <c:pt idx="3">
                  <c:v>11747</c:v>
                </c:pt>
                <c:pt idx="4">
                  <c:v>4759</c:v>
                </c:pt>
                <c:pt idx="5">
                  <c:v>25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ai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July</c:v>
                </c:pt>
                <c:pt idx="1">
                  <c:v>Agustus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388</c:v>
                </c:pt>
                <c:pt idx="1">
                  <c:v>10028</c:v>
                </c:pt>
                <c:pt idx="2">
                  <c:v>10915</c:v>
                </c:pt>
                <c:pt idx="3">
                  <c:v>11823</c:v>
                </c:pt>
                <c:pt idx="4">
                  <c:v>3465</c:v>
                </c:pt>
                <c:pt idx="5">
                  <c:v>22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50-46C3-B8F9-773734E57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032448"/>
        <c:axId val="161038720"/>
      </c:lineChart>
      <c:catAx>
        <c:axId val="161032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38720"/>
        <c:crosses val="autoZero"/>
        <c:auto val="1"/>
        <c:lblAlgn val="ctr"/>
        <c:lblOffset val="100"/>
        <c:noMultiLvlLbl val="0"/>
      </c:catAx>
      <c:valAx>
        <c:axId val="161038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32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llow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P public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ugust</c:v>
                </c:pt>
                <c:pt idx="1">
                  <c:v>September</c:v>
                </c:pt>
                <c:pt idx="2">
                  <c:v>Oc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852</c:v>
                </c:pt>
                <c:pt idx="1">
                  <c:v>83658</c:v>
                </c:pt>
                <c:pt idx="2">
                  <c:v>107834</c:v>
                </c:pt>
                <c:pt idx="3">
                  <c:v>80715</c:v>
                </c:pt>
                <c:pt idx="4">
                  <c:v>139228</c:v>
                </c:pt>
                <c:pt idx="5">
                  <c:v>1124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32-4922-B0F9-970B38B435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ai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ugust</c:v>
                </c:pt>
                <c:pt idx="1">
                  <c:v>September</c:v>
                </c:pt>
                <c:pt idx="2">
                  <c:v>Oc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43528</c:v>
                </c:pt>
                <c:pt idx="1">
                  <c:v>117634</c:v>
                </c:pt>
                <c:pt idx="2">
                  <c:v>129918</c:v>
                </c:pt>
                <c:pt idx="3">
                  <c:v>97990</c:v>
                </c:pt>
                <c:pt idx="4">
                  <c:v>115146</c:v>
                </c:pt>
                <c:pt idx="5">
                  <c:v>137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32-4922-B0F9-970B38B435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060736"/>
        <c:axId val="161062912"/>
      </c:lineChart>
      <c:catAx>
        <c:axId val="16106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62912"/>
        <c:crosses val="autoZero"/>
        <c:auto val="1"/>
        <c:lblAlgn val="ctr"/>
        <c:lblOffset val="100"/>
        <c:noMultiLvlLbl val="0"/>
      </c:catAx>
      <c:valAx>
        <c:axId val="16106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60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Domain </a:t>
            </a:r>
            <a:r>
              <a:rPr lang="en-US" dirty="0"/>
              <a:t>Proxy Blocked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P public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11-4D5A-929E-CDB2A1BB39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11-4D5A-929E-CDB2A1BB39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11-4D5A-929E-CDB2A1BB39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11-4D5A-929E-CDB2A1BB39E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B11-4D5A-929E-CDB2A1BB39E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B11-4D5A-929E-CDB2A1BB39E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B11-4D5A-929E-CDB2A1BB39E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B11-4D5A-929E-CDB2A1BB39E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4B11-4D5A-929E-CDB2A1BB39E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4B11-4D5A-929E-CDB2A1BB39E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Log.pinterest.com</c:v>
                </c:pt>
                <c:pt idx="1">
                  <c:v>www.bing.com</c:v>
                </c:pt>
                <c:pt idx="2">
                  <c:v>Collector.newrelic.com</c:v>
                </c:pt>
                <c:pt idx="3">
                  <c:v>Data.xboxlive.com</c:v>
                </c:pt>
                <c:pt idx="4">
                  <c:v>Cloud.acrobat.com</c:v>
                </c:pt>
                <c:pt idx="5">
                  <c:v>Api.prismaapp.io</c:v>
                </c:pt>
                <c:pt idx="6">
                  <c:v>Netieva.com</c:v>
                </c:pt>
                <c:pt idx="7">
                  <c:v>Armmf.adobe.com</c:v>
                </c:pt>
                <c:pt idx="8">
                  <c:v>Ipv6.msftconnecttest.com</c:v>
                </c:pt>
                <c:pt idx="9">
                  <c:v>Aus4.Mozilla.org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85338</c:v>
                </c:pt>
                <c:pt idx="1">
                  <c:v>4309</c:v>
                </c:pt>
                <c:pt idx="2">
                  <c:v>2949</c:v>
                </c:pt>
                <c:pt idx="3">
                  <c:v>2814</c:v>
                </c:pt>
                <c:pt idx="4">
                  <c:v>1902</c:v>
                </c:pt>
                <c:pt idx="5">
                  <c:v>1847</c:v>
                </c:pt>
                <c:pt idx="6">
                  <c:v>1708</c:v>
                </c:pt>
                <c:pt idx="7">
                  <c:v>1647</c:v>
                </c:pt>
                <c:pt idx="8">
                  <c:v>1637</c:v>
                </c:pt>
                <c:pt idx="9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ngress-Egress</a:t>
            </a:r>
            <a:r>
              <a:rPr lang="en-US" baseline="0" dirty="0"/>
              <a:t> by country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CF-453C-8838-97D431408D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8CF-453C-8838-97D431408D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8CF-453C-8838-97D431408DC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8CF-453C-8838-97D431408DC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8CF-453C-8838-97D431408DC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8CF-453C-8838-97D431408D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Indonesia</c:v>
                </c:pt>
                <c:pt idx="1">
                  <c:v>Australia</c:v>
                </c:pt>
                <c:pt idx="2">
                  <c:v>US</c:v>
                </c:pt>
                <c:pt idx="3">
                  <c:v>Algeria</c:v>
                </c:pt>
                <c:pt idx="4">
                  <c:v>China</c:v>
                </c:pt>
                <c:pt idx="5">
                  <c:v>Jap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1</c:v>
                </c:pt>
                <c:pt idx="1">
                  <c:v>5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0-4D68-8A39-DBA2F84D9B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dirty="0"/>
              <a:t>Ingress by</a:t>
            </a:r>
            <a:r>
              <a:rPr lang="en-US" sz="1400" b="0" baseline="0" dirty="0"/>
              <a:t> Source</a:t>
            </a:r>
            <a:endParaRPr lang="en-US" sz="1400" b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C7-4C76-B3E2-4DFB2573165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1C7-4C76-B3E2-4DFB2573165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1C7-4C76-B3E2-4DFB2573165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1C7-4C76-B3E2-4DFB2573165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1C7-4C76-B3E2-4DFB2573165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1C7-4C76-B3E2-4DFB2573165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23B-45FB-9272-BFF0B326C3A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23B-45FB-9272-BFF0B326C3A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123B-45FB-9272-BFF0B326C3A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123B-45FB-9272-BFF0B326C3A1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23B-45FB-9272-BFF0B326C3A1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123B-45FB-9272-BFF0B326C3A1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123B-45FB-9272-BFF0B326C3A1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123B-45FB-9272-BFF0B326C3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5</c:f>
              <c:strCache>
                <c:ptCount val="14"/>
                <c:pt idx="0">
                  <c:v>Telkomsel-ID</c:v>
                </c:pt>
                <c:pt idx="1">
                  <c:v>Telkomsel-ID</c:v>
                </c:pt>
                <c:pt idx="2">
                  <c:v>Telkomsel-ID</c:v>
                </c:pt>
                <c:pt idx="3">
                  <c:v>interscan1.indosat.com.</c:v>
                </c:pt>
                <c:pt idx="4">
                  <c:v>FOXTEL.NET.AU</c:v>
                </c:pt>
                <c:pt idx="5">
                  <c:v>FOXTEL.NET.AU</c:v>
                </c:pt>
                <c:pt idx="6">
                  <c:v>YAHOO.COM</c:v>
                </c:pt>
                <c:pt idx="7">
                  <c:v>IPIP.NET</c:v>
                </c:pt>
                <c:pt idx="8">
                  <c:v>CHINATELECOMGLOBAL.COM</c:v>
                </c:pt>
                <c:pt idx="9">
                  <c:v>ALGER-WBB</c:v>
                </c:pt>
                <c:pt idx="10">
                  <c:v>indosat.com</c:v>
                </c:pt>
                <c:pt idx="11">
                  <c:v>YAHOO.COM</c:v>
                </c:pt>
                <c:pt idx="12">
                  <c:v>THREE.CO.ID</c:v>
                </c:pt>
                <c:pt idx="13">
                  <c:v>FAASRI-NET.CO.ID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66</c:v>
                </c:pt>
                <c:pt idx="1">
                  <c:v>34</c:v>
                </c:pt>
                <c:pt idx="2">
                  <c:v>33</c:v>
                </c:pt>
                <c:pt idx="3">
                  <c:v>17</c:v>
                </c:pt>
                <c:pt idx="4">
                  <c:v>3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1C7-4C76-B3E2-4DFB2573165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186595852107591"/>
          <c:y val="0.1685895676810229"/>
          <c:w val="0.42813404147892398"/>
          <c:h val="0.781031810192018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Ingress by Destin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estinatio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59-464F-841D-6282AE185A3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59-464F-841D-6282AE185A3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59-464F-841D-6282AE185A3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959-464F-841D-6282AE185A3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959-464F-841D-6282AE185A3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959-464F-841D-6282AE185A3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D51-497C-A333-B148108036C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D51-497C-A333-B148108036C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D51-497C-A333-B148108036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Api.btpn.com_DR_ext</c:v>
                </c:pt>
                <c:pt idx="1">
                  <c:v>Public Ironport Sentul</c:v>
                </c:pt>
                <c:pt idx="2">
                  <c:v>ZBRMTASTL01-EXT</c:v>
                </c:pt>
                <c:pt idx="3">
                  <c:v>DNS_103.10.147.41</c:v>
                </c:pt>
                <c:pt idx="4">
                  <c:v>NAT IP Public Server MDM</c:v>
                </c:pt>
                <c:pt idx="5">
                  <c:v>DNS_103.10.147.41</c:v>
                </c:pt>
                <c:pt idx="6">
                  <c:v>GTM_DRC_1</c:v>
                </c:pt>
                <c:pt idx="7">
                  <c:v>IP Address NAT DRC Sentul</c:v>
                </c:pt>
                <c:pt idx="8">
                  <c:v>VIP_GTM_DRC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20</c:v>
                </c:pt>
                <c:pt idx="1">
                  <c:v>20</c:v>
                </c:pt>
                <c:pt idx="2">
                  <c:v>13</c:v>
                </c:pt>
                <c:pt idx="3">
                  <c:v>5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959-464F-841D-6282AE185A3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272851849102711"/>
          <c:y val="5.838461651537704E-2"/>
          <c:w val="0.31115729664882052"/>
          <c:h val="0.92200458410774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dirty="0"/>
              <a:t>Egress by</a:t>
            </a:r>
            <a:r>
              <a:rPr lang="en-US" sz="1400" b="0" baseline="0" dirty="0"/>
              <a:t> Source</a:t>
            </a:r>
            <a:endParaRPr lang="en-US" sz="1400" b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ource Addres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AB0-4BE5-97A3-A1FE78C24B5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B0-4BE5-97A3-A1FE78C24B5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AB0-4BE5-97A3-A1FE78C24B5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AB0-4BE5-97A3-A1FE78C24B5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DCSINFISW01</c:v>
                </c:pt>
                <c:pt idx="1">
                  <c:v>DNSEXTSTL02-InternalIP</c:v>
                </c:pt>
                <c:pt idx="2">
                  <c:v>DCSINFISW01</c:v>
                </c:pt>
                <c:pt idx="3">
                  <c:v>dcsinfstl01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7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B0-4BE5-97A3-A1FE78C24B5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Egress by Destin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estinatio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78-4F82-BE8F-279DCFFC8BC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78-4F82-BE8F-279DCFFC8BC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078-4F82-BE8F-279DCFFC8BC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078-4F82-BE8F-279DCFFC8BC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78-4F82-BE8F-279DCFFC8BC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78-4F82-BE8F-279DCFFC8BC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2D2-46A6-8431-32D89DE210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ifxnw.com.ar</c:v>
                </c:pt>
                <c:pt idx="1">
                  <c:v>garak.toservers.com.</c:v>
                </c:pt>
                <c:pt idx="2">
                  <c:v>ns1.kemlu.go.id</c:v>
                </c:pt>
                <c:pt idx="3">
                  <c:v>name1.chinatelecomglobal.com</c:v>
                </c:pt>
                <c:pt idx="4">
                  <c:v>SPEEDCASTAUSTRALIA-AU</c:v>
                </c:pt>
                <c:pt idx="5">
                  <c:v>alh249066.alhsys.es</c:v>
                </c:pt>
                <c:pt idx="6">
                  <c:v>ns10.uadns.com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078-4F82-BE8F-279DCFFC8B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397886715588659"/>
          <c:y val="0.19167842344687061"/>
          <c:w val="0.33990694798396109"/>
          <c:h val="0.712859662301801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icket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C3-4B7C-9DF7-AFC74959CC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72</c:v>
                </c:pt>
                <c:pt idx="1">
                  <c:v>94</c:v>
                </c:pt>
                <c:pt idx="2">
                  <c:v>70</c:v>
                </c:pt>
                <c:pt idx="3">
                  <c:v>56</c:v>
                </c:pt>
                <c:pt idx="4">
                  <c:v>23</c:v>
                </c:pt>
                <c:pt idx="5">
                  <c:v>6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1115136"/>
        <c:axId val="22111705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72</c:v>
                </c:pt>
                <c:pt idx="1">
                  <c:v>94</c:v>
                </c:pt>
                <c:pt idx="2">
                  <c:v>70</c:v>
                </c:pt>
                <c:pt idx="3">
                  <c:v>56</c:v>
                </c:pt>
                <c:pt idx="4">
                  <c:v>23</c:v>
                </c:pt>
                <c:pt idx="5">
                  <c:v>6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1115136"/>
        <c:axId val="221117056"/>
      </c:lineChart>
      <c:catAx>
        <c:axId val="22111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1117056"/>
        <c:crosses val="autoZero"/>
        <c:auto val="1"/>
        <c:lblAlgn val="ctr"/>
        <c:lblOffset val="100"/>
        <c:noMultiLvlLbl val="0"/>
      </c:catAx>
      <c:valAx>
        <c:axId val="221117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111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icke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Agustus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C3-4B7C-9DF7-AFC74959CC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Agustus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5</c:v>
                </c:pt>
                <c:pt idx="1">
                  <c:v>8</c:v>
                </c:pt>
                <c:pt idx="2">
                  <c:v>11</c:v>
                </c:pt>
                <c:pt idx="3">
                  <c:v>1</c:v>
                </c:pt>
                <c:pt idx="4">
                  <c:v>7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2705664"/>
        <c:axId val="1727072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Agustus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5</c:v>
                </c:pt>
                <c:pt idx="1">
                  <c:v>8</c:v>
                </c:pt>
                <c:pt idx="2">
                  <c:v>11</c:v>
                </c:pt>
                <c:pt idx="3">
                  <c:v>1</c:v>
                </c:pt>
                <c:pt idx="4">
                  <c:v>7</c:v>
                </c:pt>
                <c:pt idx="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2705664"/>
        <c:axId val="172707200"/>
      </c:lineChart>
      <c:catAx>
        <c:axId val="172705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707200"/>
        <c:crosses val="autoZero"/>
        <c:auto val="1"/>
        <c:lblAlgn val="ctr"/>
        <c:lblOffset val="100"/>
        <c:noMultiLvlLbl val="0"/>
      </c:catAx>
      <c:valAx>
        <c:axId val="172707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705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Vulnerability Categori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BE-4E2E-85C1-4FAD75592F3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BE-4E2E-85C1-4FAD75592F3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BE-4E2E-85C1-4FAD75592F3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BE-4E2E-85C1-4FAD75592F3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BE-4E2E-85C1-4FAD75592F3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0BE-4E2E-85C1-4FAD75592F3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5FE-4EF8-B0C8-72107572762A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5FE-4EF8-B0C8-72107572762A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5FE-4EF8-B0C8-72107572762A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5FE-4EF8-B0C8-7210757276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SANS -W4</c:v>
                </c:pt>
                <c:pt idx="1">
                  <c:v>SANS - w5</c:v>
                </c:pt>
                <c:pt idx="2">
                  <c:v>SANS - w3</c:v>
                </c:pt>
                <c:pt idx="3">
                  <c:v>Bugtraq - 62226</c:v>
                </c:pt>
                <c:pt idx="4">
                  <c:v>CVE - CVE-2016-2183</c:v>
                </c:pt>
                <c:pt idx="5">
                  <c:v>CVE - CVE-2013-2566</c:v>
                </c:pt>
                <c:pt idx="6">
                  <c:v>Bugtraq - 58796</c:v>
                </c:pt>
                <c:pt idx="7">
                  <c:v>CVE - CVE-2014-3566</c:v>
                </c:pt>
                <c:pt idx="8">
                  <c:v>Bugtraq - 70754</c:v>
                </c:pt>
                <c:pt idx="9">
                  <c:v>Bugtraq - 83127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7</c:v>
                </c:pt>
                <c:pt idx="1">
                  <c:v>67</c:v>
                </c:pt>
                <c:pt idx="2">
                  <c:v>67</c:v>
                </c:pt>
                <c:pt idx="3">
                  <c:v>67</c:v>
                </c:pt>
                <c:pt idx="4">
                  <c:v>63</c:v>
                </c:pt>
                <c:pt idx="5">
                  <c:v>51</c:v>
                </c:pt>
                <c:pt idx="6">
                  <c:v>51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0-4D68-8A39-DBA2F84D9B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dirty="0"/>
              <a:t>Asset Vulnerabl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B4A-4FAE-9729-D4BB5BBA242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B4A-4FAE-9729-D4BB5BBA242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B4A-4FAE-9729-D4BB5BBA242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B4A-4FAE-9729-D4BB5BBA242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B4A-4FAE-9729-D4BB5BBA242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B4A-4FAE-9729-D4BB5BBA242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A3C-4087-873D-7841A59329E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A3C-4087-873D-7841A59329E9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A3C-4087-873D-7841A59329E9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A3C-4087-873D-7841A59329E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wascifmpr02.corp.bankbtpn.co.id</c:v>
                </c:pt>
                <c:pt idx="1">
                  <c:v>wasrppmpr02.corp.bankbtpn.co.id</c:v>
                </c:pt>
                <c:pt idx="2">
                  <c:v>orcredmpr01.corp.bankbtpn.co.id</c:v>
                </c:pt>
                <c:pt idx="3">
                  <c:v>10.1.0.44</c:v>
                </c:pt>
                <c:pt idx="4">
                  <c:v>wasrppmpr01.corp.bankbtpn.co.id</c:v>
                </c:pt>
                <c:pt idx="5">
                  <c:v>appmismpr02.corp.bankbtpn.co.id</c:v>
                </c:pt>
                <c:pt idx="6">
                  <c:v>exghtsisw02.corp.bankbtpn.co.id</c:v>
                </c:pt>
                <c:pt idx="7">
                  <c:v>dcsinfmpr05.corp.bankbtpn.co.id</c:v>
                </c:pt>
                <c:pt idx="8">
                  <c:v>exghtsisw01.corp.bankbtpn.co.id</c:v>
                </c:pt>
                <c:pt idx="9">
                  <c:v>oasjfimpr01.corp.bankbtpn.co.id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20</c:v>
                </c:pt>
                <c:pt idx="1">
                  <c:v>112</c:v>
                </c:pt>
                <c:pt idx="2">
                  <c:v>66</c:v>
                </c:pt>
                <c:pt idx="3">
                  <c:v>41</c:v>
                </c:pt>
                <c:pt idx="4">
                  <c:v>36</c:v>
                </c:pt>
                <c:pt idx="5">
                  <c:v>28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B4A-4FAE-9729-D4BB5BBA242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558323761222475"/>
          <c:y val="5.1875198590015589E-2"/>
          <c:w val="0.27062783820284769"/>
          <c:h val="0.88236724198563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Location Asset Vulnerabl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3A-4CFF-8298-7CB16FA504D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3A-4CFF-8298-7CB16FA504D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43A-4CFF-8298-7CB16FA504D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43A-4CFF-8298-7CB16FA504D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43A-4CFF-8298-7CB16FA504D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43A-4CFF-8298-7CB16FA504D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RFC1918</c:v>
                </c:pt>
                <c:pt idx="1">
                  <c:v>DMZ_vlan1_10.1.129.0_24</c:v>
                </c:pt>
                <c:pt idx="2">
                  <c:v>Application_ServerFarm_10.1.71.0_2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5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43A-4CFF-8298-7CB16FA504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ven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ulnerabl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ugust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735</c:v>
                </c:pt>
                <c:pt idx="1">
                  <c:v>735</c:v>
                </c:pt>
                <c:pt idx="2">
                  <c:v>735</c:v>
                </c:pt>
                <c:pt idx="3">
                  <c:v>735</c:v>
                </c:pt>
                <c:pt idx="4">
                  <c:v>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468544"/>
        <c:axId val="175470464"/>
      </c:lineChart>
      <c:catAx>
        <c:axId val="17546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70464"/>
        <c:crosses val="autoZero"/>
        <c:auto val="1"/>
        <c:lblAlgn val="ctr"/>
        <c:lblOffset val="100"/>
        <c:noMultiLvlLbl val="0"/>
      </c:catAx>
      <c:valAx>
        <c:axId val="175470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68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icket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78C3-4B7C-9DF7-AFC74959CC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1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5486464"/>
        <c:axId val="175488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486464"/>
        <c:axId val="175488000"/>
      </c:lineChart>
      <c:catAx>
        <c:axId val="175486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88000"/>
        <c:crosses val="autoZero"/>
        <c:auto val="1"/>
        <c:lblAlgn val="ctr"/>
        <c:lblOffset val="100"/>
        <c:noMultiLvlLbl val="0"/>
      </c:catAx>
      <c:valAx>
        <c:axId val="175488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48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alware Ticke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C3-4B7C-9DF7-AFC74959CC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3</c:v>
                </c:pt>
                <c:pt idx="5">
                  <c:v>4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3316608"/>
        <c:axId val="22339622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3</c:v>
                </c:pt>
                <c:pt idx="5">
                  <c:v>4</c:v>
                </c:pt>
                <c:pt idx="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316608"/>
        <c:axId val="223396224"/>
      </c:lineChart>
      <c:catAx>
        <c:axId val="22331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396224"/>
        <c:crosses val="autoZero"/>
        <c:auto val="1"/>
        <c:lblAlgn val="ctr"/>
        <c:lblOffset val="100"/>
        <c:noMultiLvlLbl val="0"/>
      </c:catAx>
      <c:valAx>
        <c:axId val="223396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31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UA Ticke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33-45B6-A6EA-6FFF4A1D61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9</c:v>
                </c:pt>
                <c:pt idx="4">
                  <c:v>18</c:v>
                </c:pt>
                <c:pt idx="5">
                  <c:v>26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33-45B6-A6EA-6FFF4A1D61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1872768"/>
        <c:axId val="2319695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9</c:v>
                </c:pt>
                <c:pt idx="4">
                  <c:v>18</c:v>
                </c:pt>
                <c:pt idx="5">
                  <c:v>26</c:v>
                </c:pt>
                <c:pt idx="6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B33-45B6-A6EA-6FFF4A1D61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1872768"/>
        <c:axId val="231969536"/>
      </c:lineChart>
      <c:catAx>
        <c:axId val="231872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1969536"/>
        <c:crosses val="autoZero"/>
        <c:auto val="1"/>
        <c:lblAlgn val="ctr"/>
        <c:lblOffset val="100"/>
        <c:noMultiLvlLbl val="0"/>
      </c:catAx>
      <c:valAx>
        <c:axId val="231969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1872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plia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upda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09</c:v>
                </c:pt>
                <c:pt idx="2">
                  <c:v>0.01</c:v>
                </c:pt>
                <c:pt idx="3">
                  <c:v>7.0000000000000007E-2</c:v>
                </c:pt>
                <c:pt idx="4">
                  <c:v>0.01</c:v>
                </c:pt>
                <c:pt idx="5">
                  <c:v>0.01</c:v>
                </c:pt>
                <c:pt idx="6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instal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01</c:v>
                </c:pt>
                <c:pt idx="1">
                  <c:v>0.01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01</c:v>
                </c:pt>
                <c:pt idx="6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50-46C3-B8F9-773734E57D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geted Compliance</c:v>
                </c:pt>
              </c:strCache>
            </c:strRef>
          </c:tx>
          <c:spPr>
            <a:ln w="730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F92-45F1-9A8C-AC0561FA8B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6673920"/>
        <c:axId val="156688384"/>
      </c:lineChart>
      <c:catAx>
        <c:axId val="156673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688384"/>
        <c:crosses val="autoZero"/>
        <c:auto val="1"/>
        <c:lblAlgn val="ctr"/>
        <c:lblOffset val="100"/>
        <c:noMultiLvlLbl val="0"/>
      </c:catAx>
      <c:valAx>
        <c:axId val="156688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673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ophos</a:t>
            </a:r>
            <a:r>
              <a:rPr lang="en-US" baseline="0" dirty="0"/>
              <a:t> </a:t>
            </a:r>
            <a:r>
              <a:rPr lang="en-US" dirty="0"/>
              <a:t>Ticke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C3-4B7C-9DF7-AFC74959CC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72</c:v>
                </c:pt>
                <c:pt idx="1">
                  <c:v>94</c:v>
                </c:pt>
                <c:pt idx="2">
                  <c:v>70</c:v>
                </c:pt>
                <c:pt idx="3">
                  <c:v>56</c:v>
                </c:pt>
                <c:pt idx="4">
                  <c:v>23</c:v>
                </c:pt>
                <c:pt idx="5">
                  <c:v>6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0509312"/>
        <c:axId val="16051110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losed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July</c:v>
                </c:pt>
                <c:pt idx="1">
                  <c:v>Agustus</c:v>
                </c:pt>
                <c:pt idx="2">
                  <c:v>September</c:v>
                </c:pt>
                <c:pt idx="3">
                  <c:v>Oktober</c:v>
                </c:pt>
                <c:pt idx="4">
                  <c:v>November</c:v>
                </c:pt>
                <c:pt idx="5">
                  <c:v>Desember</c:v>
                </c:pt>
                <c:pt idx="6">
                  <c:v>Januari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72</c:v>
                </c:pt>
                <c:pt idx="1">
                  <c:v>94</c:v>
                </c:pt>
                <c:pt idx="2">
                  <c:v>70</c:v>
                </c:pt>
                <c:pt idx="3">
                  <c:v>56</c:v>
                </c:pt>
                <c:pt idx="4">
                  <c:v>23</c:v>
                </c:pt>
                <c:pt idx="5">
                  <c:v>6</c:v>
                </c:pt>
                <c:pt idx="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C3-4B7C-9DF7-AFC74959C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509312"/>
        <c:axId val="160511104"/>
      </c:lineChart>
      <c:catAx>
        <c:axId val="160509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11104"/>
        <c:crosses val="autoZero"/>
        <c:auto val="1"/>
        <c:lblAlgn val="ctr"/>
        <c:lblOffset val="100"/>
        <c:noMultiLvlLbl val="0"/>
      </c:catAx>
      <c:valAx>
        <c:axId val="160511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09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Viru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eane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ugust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576</c:v>
                </c:pt>
                <c:pt idx="1">
                  <c:v>443</c:v>
                </c:pt>
                <c:pt idx="2">
                  <c:v>365</c:v>
                </c:pt>
                <c:pt idx="3">
                  <c:v>27</c:v>
                </c:pt>
                <c:pt idx="4">
                  <c:v>750</c:v>
                </c:pt>
                <c:pt idx="5">
                  <c:v>4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50-46C3-B8F9-773734E57D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top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ugust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661</c:v>
                </c:pt>
                <c:pt idx="1">
                  <c:v>216</c:v>
                </c:pt>
                <c:pt idx="2">
                  <c:v>218</c:v>
                </c:pt>
                <c:pt idx="3">
                  <c:v>22</c:v>
                </c:pt>
                <c:pt idx="4">
                  <c:v>145</c:v>
                </c:pt>
                <c:pt idx="5">
                  <c:v>3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50-46C3-B8F9-773734E57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550272"/>
        <c:axId val="160556544"/>
      </c:lineChart>
      <c:catAx>
        <c:axId val="160550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6544"/>
        <c:crosses val="autoZero"/>
        <c:auto val="1"/>
        <c:lblAlgn val="ctr"/>
        <c:lblOffset val="100"/>
        <c:noMultiLvlLbl val="0"/>
      </c:catAx>
      <c:valAx>
        <c:axId val="160556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0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dwa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eane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gustus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1</c:v>
                </c:pt>
                <c:pt idx="1">
                  <c:v>21</c:v>
                </c:pt>
                <c:pt idx="2">
                  <c:v>17</c:v>
                </c:pt>
                <c:pt idx="3">
                  <c:v>13</c:v>
                </c:pt>
                <c:pt idx="4">
                  <c:v>10</c:v>
                </c:pt>
                <c:pt idx="5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66-428D-847F-3E4992D84F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top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7</c:f>
              <c:strCache>
                <c:ptCount val="6"/>
                <c:pt idx="0">
                  <c:v>Agustus</c:v>
                </c:pt>
                <c:pt idx="1">
                  <c:v>September</c:v>
                </c:pt>
                <c:pt idx="2">
                  <c:v>Oktober</c:v>
                </c:pt>
                <c:pt idx="3">
                  <c:v>November</c:v>
                </c:pt>
                <c:pt idx="4">
                  <c:v>Desember</c:v>
                </c:pt>
                <c:pt idx="5">
                  <c:v>Janua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57</c:v>
                </c:pt>
                <c:pt idx="1">
                  <c:v>27</c:v>
                </c:pt>
                <c:pt idx="2">
                  <c:v>17</c:v>
                </c:pt>
                <c:pt idx="3">
                  <c:v>15</c:v>
                </c:pt>
                <c:pt idx="4">
                  <c:v>9</c:v>
                </c:pt>
                <c:pt idx="5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66-428D-847F-3E4992D84F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623616"/>
        <c:axId val="160760960"/>
      </c:lineChart>
      <c:catAx>
        <c:axId val="160623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60960"/>
        <c:crosses val="autoZero"/>
        <c:auto val="1"/>
        <c:lblAlgn val="ctr"/>
        <c:lblOffset val="100"/>
        <c:noMultiLvlLbl val="0"/>
      </c:catAx>
      <c:valAx>
        <c:axId val="16076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623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r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942-41E4-A25A-43723B041B0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942-41E4-A25A-43723B041B0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942-41E4-A25A-43723B041B0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942-41E4-A25A-43723B041B0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942-41E4-A25A-43723B041B0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42-41E4-A25A-43723B041B0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BE8-49A1-AAFE-CD74900DFFB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BE8-49A1-AAFE-CD74900DFFB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BE8-49A1-AAFE-CD74900DFFB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BE8-49A1-AAFE-CD74900DFF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10"/>
                <c:pt idx="0">
                  <c:v>Mal/Generic-S</c:v>
                </c:pt>
                <c:pt idx="1">
                  <c:v>Mal/Generic-S</c:v>
                </c:pt>
                <c:pt idx="2">
                  <c:v>Mal/Generic-L</c:v>
                </c:pt>
                <c:pt idx="3">
                  <c:v>Mal/Generic-L</c:v>
                </c:pt>
                <c:pt idx="4">
                  <c:v>Troj/Vools-J</c:v>
                </c:pt>
                <c:pt idx="5">
                  <c:v>Troj/Vools-J</c:v>
                </c:pt>
                <c:pt idx="6">
                  <c:v>Mal/Generic-S</c:v>
                </c:pt>
                <c:pt idx="7">
                  <c:v>Troj/Eqdrug-AC</c:v>
                </c:pt>
                <c:pt idx="8">
                  <c:v>Troj/Eqdrug-AC</c:v>
                </c:pt>
                <c:pt idx="9">
                  <c:v>Troj/Eternal-A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590</c:v>
                </c:pt>
                <c:pt idx="1">
                  <c:v>3589</c:v>
                </c:pt>
                <c:pt idx="2">
                  <c:v>512</c:v>
                </c:pt>
                <c:pt idx="3">
                  <c:v>511</c:v>
                </c:pt>
                <c:pt idx="4">
                  <c:v>270</c:v>
                </c:pt>
                <c:pt idx="5">
                  <c:v>267</c:v>
                </c:pt>
                <c:pt idx="6">
                  <c:v>164</c:v>
                </c:pt>
                <c:pt idx="7">
                  <c:v>141</c:v>
                </c:pt>
                <c:pt idx="8">
                  <c:v>140</c:v>
                </c:pt>
                <c:pt idx="9">
                  <c:v>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0-4D68-8A39-DBA2F84D9B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1F4E04-FBE0-4C54-81E0-5A8BC44D0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1CCD63-E01E-4172-A062-7049270D08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95888F-0C48-444D-A917-2DFBA4240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0C2FBE-8AC3-4405-8D2A-A94D229C1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AE6C7-369D-42D7-A79F-6567A0D74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0032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1BA94-0D0F-484E-89B4-5567FFC45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96B294-E7F4-4DDC-BAC1-7C83CA850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2AC182-E704-4100-9CBB-0C91E5062F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FF361-9A86-4429-9063-E34EF6AED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5F35-D381-40FB-B8E9-08D93E67E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543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8B0C46-30E1-4919-BA67-04C1C488C0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D49BCE-85BD-40B2-A3BF-C44378E4C6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FC83F-815D-4372-8C5D-FD39E2AF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10602-CB94-480A-8F6D-1FCF37C9E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ADC37-963C-4304-9772-9D76854E6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523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351649"/>
            <a:ext cx="10363200" cy="1470025"/>
          </a:xfrm>
        </p:spPr>
        <p:txBody>
          <a:bodyPr>
            <a:normAutofit/>
          </a:bodyPr>
          <a:lstStyle>
            <a:lvl1pPr>
              <a:defRPr sz="3600" b="1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443760"/>
            <a:ext cx="9448800" cy="93652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60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735B257-4015-49F3-BA09-CB93F44FDA7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37872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B6A902AA-15E5-492E-9143-B9FDCB0AEA1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7554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Calibri" panose="020F050202020403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latin typeface="Calibri" panose="020F050202020403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5135E7EF-FBFA-4398-A370-C2F6F92CAD0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92503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3828" y="2548601"/>
            <a:ext cx="6666749" cy="1362075"/>
          </a:xfrm>
        </p:spPr>
        <p:txBody>
          <a:bodyPr anchor="t">
            <a:normAutofit/>
          </a:bodyPr>
          <a:lstStyle>
            <a:lvl1pPr algn="ctr">
              <a:defRPr sz="4800" b="1" cap="none" baseline="0"/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7644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515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180C7-286A-4EA5-8898-1982EA92C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07050A-867B-45CC-AACA-A333211C98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77DE9-C68F-4758-A7D9-39A20F989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E63622-5049-4D4B-A8EE-3F3648722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44E063-DA56-4263-8026-D847B6D31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894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59B0C9-88C6-4D4F-82F3-F6CC560E0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1EEB5-9012-4CD6-AB60-0DA6699EF0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640697-90AD-4697-8891-5C0949EFED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E0BB99-1DAD-4371-A684-D6B22A888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76C641-0859-466A-84A5-BA87F4B1B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3216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E1253-1277-4F69-8B4B-2D0193E1F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21D477-6626-4F29-AAB7-B1640E694B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A70449-06B1-464B-A2A4-490C4B613A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ED345D-01B6-4604-B9A4-796B2768D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C7549F-F1DC-48C9-849A-FA17D3A81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97AF65-A093-42A0-8371-C6C6F4094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234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C242C-01B3-411E-8A67-8F4645D45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33BFF-9ECD-4C1E-B8C4-40B3F3671D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200AE-5BC9-4234-8477-03309446B5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6B9C04-A5FA-42AC-B510-1CC78A030A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09639C-E828-4552-AF87-6CC97C798D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5B2E5B-C07A-4CA0-BB8F-F287A326F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2C8407-8D06-4B4D-9AA6-E3199B0EF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965426-1F4C-4E44-8D9E-BFE384073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41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AAE6E4-A341-4480-B45E-04AB8DB0F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C56EC7-F1FD-469F-905E-BEC7921E3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7F9E54-211E-4552-A496-035D41235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EFEEEE-030B-4631-ABE5-1D83D4534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69245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B4659D-9916-4C8A-AA6C-C5A6BD354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314B97-E0CA-4E88-86B0-4A65098A3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73932-B24E-4FF3-856C-1E68C81E6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83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402CB-59DC-43DA-B153-27C7370C4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05122D-6F3D-40F0-965C-C78AAABC25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6C35BC-EA5F-41D0-A2A2-D7CD20A34F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8A6FE8-77F7-449B-874D-FA57159AB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A6D4A5-D1A7-4E1C-979A-DCCCC91E0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19D034-DB03-46EE-8068-513CD8120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528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512BF-9774-4A96-8A8F-1A63EF47A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2CD7E1-F545-4663-AC58-7F1188229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45DFBE-2F42-4667-A2CF-FAD862825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4E6E0-2C1B-473B-BCDD-499450E72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732E26-88DA-435D-956B-453A17FA5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08ECDE-F0B8-41B1-82FD-2CB90918B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669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D51030-16B6-4ED0-AEC2-03ABE325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FD4B4-FFAD-4A80-A0A1-4366BADB1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D36AE7-E111-4B94-8E54-BB013138F2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42EE7-6B01-4BD2-BF99-5441D324B106}" type="datetimeFigureOut">
              <a:rPr lang="en-GB" smtClean="0"/>
              <a:t>07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0C8CF-E381-434D-9EEE-0CEABB0D3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C5293F-93B8-41C1-8CD8-4701A7F8B3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F0B6EC-3055-449C-AF30-D2A79F8FD7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40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41288"/>
            <a:ext cx="9753600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460503"/>
            <a:ext cx="10972800" cy="466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6507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1pPr>
          </a:lstStyle>
          <a:p>
            <a:pPr>
              <a:defRPr/>
            </a:pPr>
            <a:fld id="{6D789884-E511-4C53-B354-7A605B8F17E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609600" y="6465072"/>
            <a:ext cx="7416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Calibri" panose="020F050202020403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94132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457178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  <a:lvl2pPr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2pPr>
      <a:lvl3pPr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3pPr>
      <a:lvl4pPr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4pPr>
      <a:lvl5pPr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</a:defRPr>
      </a:lvl5pPr>
      <a:lvl6pPr marL="457178"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 Neue" pitchFamily="2"/>
        </a:defRPr>
      </a:lvl6pPr>
      <a:lvl7pPr marL="914354"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 Neue" pitchFamily="2"/>
        </a:defRPr>
      </a:lvl7pPr>
      <a:lvl8pPr marL="1371532"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 Neue" pitchFamily="2"/>
        </a:defRPr>
      </a:lvl8pPr>
      <a:lvl9pPr marL="1828709" algn="l" defTabSz="45717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 Neue" pitchFamily="2"/>
        </a:defRPr>
      </a:lvl9pPr>
    </p:titleStyle>
    <p:bodyStyle>
      <a:lvl1pPr marL="342882" indent="-342882" algn="l" defTabSz="457178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742913" indent="-285737" algn="l" defTabSz="457178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2942" indent="-228589" algn="l" defTabSz="457178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120" indent="-228589" algn="l" defTabSz="457178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298" indent="-228589" algn="l" defTabSz="457178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474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hyperlink" Target="http://www.bing.com/" TargetMode="Externa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7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3636" y="2955691"/>
            <a:ext cx="3600353" cy="631248"/>
          </a:xfrm>
        </p:spPr>
        <p:txBody>
          <a:bodyPr>
            <a:normAutofit/>
          </a:bodyPr>
          <a:lstStyle/>
          <a:p>
            <a:r>
              <a:rPr lang="en-US" sz="3200" dirty="0"/>
              <a:t>ArcSight Showcase</a:t>
            </a:r>
            <a:endParaRPr lang="en-US" sz="3200" i="1" dirty="0"/>
          </a:p>
        </p:txBody>
      </p:sp>
    </p:spTree>
    <p:extLst>
      <p:ext uri="{BB962C8B-B14F-4D97-AF65-F5344CB8AC3E}">
        <p14:creationId xmlns:p14="http://schemas.microsoft.com/office/powerpoint/2010/main" val="110500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virus Dashboard Compliance Monitoring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9597450"/>
              </p:ext>
            </p:extLst>
          </p:nvPr>
        </p:nvGraphicFramePr>
        <p:xfrm>
          <a:off x="230777" y="1295208"/>
          <a:ext cx="11730448" cy="170676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05780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1305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20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32001">
                  <a:extLst>
                    <a:ext uri="{9D8B030D-6E8A-4147-A177-3AD203B41FA5}">
                      <a16:colId xmlns:a16="http://schemas.microsoft.com/office/drawing/2014/main" val="2566020832"/>
                    </a:ext>
                  </a:extLst>
                </a:gridCol>
                <a:gridCol w="1884962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1884962">
                  <a:extLst>
                    <a:ext uri="{9D8B030D-6E8A-4147-A177-3AD203B41FA5}">
                      <a16:colId xmlns:a16="http://schemas.microsoft.com/office/drawing/2014/main" val="3565412809"/>
                    </a:ext>
                  </a:extLst>
                </a:gridCol>
                <a:gridCol w="1884962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argeted </a:t>
                      </a:r>
                    </a:p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ompliance 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>
                          <a:effectLst/>
                        </a:rPr>
                        <a:t>Compliance Not Updated 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Not Update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>
                          <a:effectLst/>
                        </a:rPr>
                        <a:t>Closed Not Instal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ly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%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%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%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%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75971"/>
              </p:ext>
            </p:extLst>
          </p:nvPr>
        </p:nvGraphicFramePr>
        <p:xfrm>
          <a:off x="56606" y="3187337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549333"/>
              </p:ext>
            </p:extLst>
          </p:nvPr>
        </p:nvGraphicFramePr>
        <p:xfrm>
          <a:off x="6096000" y="3187337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98392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virus Dashboard - virus</a:t>
            </a:r>
            <a:endParaRPr lang="en-GB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312339"/>
              </p:ext>
            </p:extLst>
          </p:nvPr>
        </p:nvGraphicFramePr>
        <p:xfrm>
          <a:off x="56606" y="1850572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95D14AE0-4E70-4683-8B9F-450362C0A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4050881"/>
              </p:ext>
            </p:extLst>
          </p:nvPr>
        </p:nvGraphicFramePr>
        <p:xfrm>
          <a:off x="6272000" y="1850572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223F6D8-478A-43A3-8194-B3075484877B}"/>
              </a:ext>
            </a:extLst>
          </p:cNvPr>
          <p:cNvCxnSpPr/>
          <p:nvPr/>
        </p:nvCxnSpPr>
        <p:spPr>
          <a:xfrm>
            <a:off x="6191795" y="1402081"/>
            <a:ext cx="0" cy="50770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615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virus Dashboard - infection</a:t>
            </a:r>
            <a:endParaRPr lang="en-GB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F1AFE6D-E5C8-4AA5-A34E-3C72BA406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6651115"/>
              </p:ext>
            </p:extLst>
          </p:nvPr>
        </p:nvGraphicFramePr>
        <p:xfrm>
          <a:off x="141152" y="1219201"/>
          <a:ext cx="6085476" cy="5569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7AF813-0C39-4C45-9165-8FD222707C3A}"/>
              </a:ext>
            </a:extLst>
          </p:cNvPr>
          <p:cNvCxnSpPr/>
          <p:nvPr/>
        </p:nvCxnSpPr>
        <p:spPr>
          <a:xfrm>
            <a:off x="6496596" y="1465217"/>
            <a:ext cx="0" cy="50770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485265A-5AB6-472E-A6EB-9A3D63FE56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076340"/>
              </p:ext>
            </p:extLst>
          </p:nvPr>
        </p:nvGraphicFramePr>
        <p:xfrm>
          <a:off x="7073360" y="1331091"/>
          <a:ext cx="4298452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8F2FE7C-40B4-454B-B5E9-F96608CC4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6578489"/>
              </p:ext>
            </p:extLst>
          </p:nvPr>
        </p:nvGraphicFramePr>
        <p:xfrm>
          <a:off x="6899564" y="4204921"/>
          <a:ext cx="4472248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0E6AC4-EB6F-4BEE-841F-AAD63728A34D}"/>
              </a:ext>
            </a:extLst>
          </p:cNvPr>
          <p:cNvCxnSpPr>
            <a:cxnSpLocks/>
          </p:cNvCxnSpPr>
          <p:nvPr/>
        </p:nvCxnSpPr>
        <p:spPr>
          <a:xfrm flipH="1">
            <a:off x="6496596" y="3984170"/>
            <a:ext cx="547769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662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56" y="3262828"/>
            <a:ext cx="4987893" cy="369332"/>
          </a:xfrm>
        </p:spPr>
        <p:txBody>
          <a:bodyPr/>
          <a:lstStyle/>
          <a:p>
            <a:r>
              <a:rPr lang="en-US" sz="2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xy Dashboard</a:t>
            </a:r>
            <a:endParaRPr lang="en-GB" sz="2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590E35-1796-4C78-8FCC-4F26C8C72C83}"/>
              </a:ext>
            </a:extLst>
          </p:cNvPr>
          <p:cNvCxnSpPr>
            <a:cxnSpLocks/>
          </p:cNvCxnSpPr>
          <p:nvPr/>
        </p:nvCxnSpPr>
        <p:spPr>
          <a:xfrm>
            <a:off x="683581" y="3752176"/>
            <a:ext cx="1093728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17987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xy Dashboard - categories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5FD054B-4658-4EF8-882A-21CE9EDD09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714861"/>
              </p:ext>
            </p:extLst>
          </p:nvPr>
        </p:nvGraphicFramePr>
        <p:xfrm>
          <a:off x="348341" y="2932685"/>
          <a:ext cx="11495317" cy="7572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1076472769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ternet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proxy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ox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ox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138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08308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xy Dashboard 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2092559"/>
              </p:ext>
            </p:extLst>
          </p:nvPr>
        </p:nvGraphicFramePr>
        <p:xfrm>
          <a:off x="230777" y="1295208"/>
          <a:ext cx="11730447" cy="148491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65348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1365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8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87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10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0951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  <a:gridCol w="1970951">
                  <a:extLst>
                    <a:ext uri="{9D8B030D-6E8A-4147-A177-3AD203B41FA5}">
                      <a16:colId xmlns:a16="http://schemas.microsoft.com/office/drawing/2014/main" val="929888484"/>
                    </a:ext>
                  </a:extLst>
                </a:gridCol>
              </a:tblGrid>
              <a:tr h="34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IP Public block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Domain Block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IP Public allow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Domain Allow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gust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3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8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85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52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20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2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65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763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cto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62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91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783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991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74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82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71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99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5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6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922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514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215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561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2415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7833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9799545"/>
              </p:ext>
            </p:extLst>
          </p:nvPr>
        </p:nvGraphicFramePr>
        <p:xfrm>
          <a:off x="56606" y="3187337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A57C98F-8968-42C8-B2B0-779787A84B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2989658"/>
              </p:ext>
            </p:extLst>
          </p:nvPr>
        </p:nvGraphicFramePr>
        <p:xfrm>
          <a:off x="5921830" y="3187337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02318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xy Dashboard 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op 10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870553"/>
              </p:ext>
            </p:extLst>
          </p:nvPr>
        </p:nvGraphicFramePr>
        <p:xfrm>
          <a:off x="230777" y="1295208"/>
          <a:ext cx="3556445" cy="22468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09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396">
                  <a:extLst>
                    <a:ext uri="{9D8B030D-6E8A-4147-A177-3AD203B41FA5}">
                      <a16:colId xmlns:a16="http://schemas.microsoft.com/office/drawing/2014/main" val="3154165154"/>
                    </a:ext>
                  </a:extLst>
                </a:gridCol>
                <a:gridCol w="13334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o.</a:t>
                      </a: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omain Proxy Blocked</a:t>
                      </a: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 Hit</a:t>
                      </a: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og.pinterest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33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hlinkClick r:id="rId2"/>
                        </a:rPr>
                        <a:t>www.bing.co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0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llector.newrelic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4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a.xboxlive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1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.acrobat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0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i.prismaapp.io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4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8303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tieva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0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327801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mmf.adobe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4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3434468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pv6.msftconnecttest.com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3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659484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s4.Mozilla.org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544733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931446"/>
              </p:ext>
            </p:extLst>
          </p:nvPr>
        </p:nvGraphicFramePr>
        <p:xfrm>
          <a:off x="4462352" y="1425039"/>
          <a:ext cx="7266906" cy="4136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103029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56" y="3262828"/>
            <a:ext cx="4987893" cy="369332"/>
          </a:xfrm>
        </p:spPr>
        <p:txBody>
          <a:bodyPr/>
          <a:lstStyle/>
          <a:p>
            <a:r>
              <a:rPr lang="en-US" sz="2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 Dashboard</a:t>
            </a:r>
            <a:endParaRPr lang="en-GB" sz="2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590E35-1796-4C78-8FCC-4F26C8C72C83}"/>
              </a:ext>
            </a:extLst>
          </p:cNvPr>
          <p:cNvCxnSpPr>
            <a:cxnSpLocks/>
          </p:cNvCxnSpPr>
          <p:nvPr/>
        </p:nvCxnSpPr>
        <p:spPr>
          <a:xfrm>
            <a:off x="683581" y="3752176"/>
            <a:ext cx="1093728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879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rewall Dashboard - categories</a:t>
            </a:r>
            <a:endParaRPr lang="en-GB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D352A1C-9906-436F-AE46-26D729FB8A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273214"/>
              </p:ext>
            </p:extLst>
          </p:nvPr>
        </p:nvGraphicFramePr>
        <p:xfrm>
          <a:off x="348341" y="1504480"/>
          <a:ext cx="11495317" cy="39881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1076472769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Firewall ent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event internal/external conne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eckpoint, Pal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trusion detection / prevention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event isolated on intrusion detection or prevention devic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7696090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egress event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the source IP, destination IP and port for events leaving the organization in order to trend malicious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Web filter, 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827984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ingress ev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dirty="0"/>
                        <a:t>Show the source IP, destination IP and port for events leaving the organization in order to trend malicious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Web filter, 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427141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foreign attack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high-severity security events originating from foreign countri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0716257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foreign countri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top county destinations for non-internal company traffic along with top country sources of traffic coming into organiza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19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55908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rewall Dashboard – event detected/stopped</a:t>
            </a:r>
            <a:endParaRPr lang="en-GB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F1AFE6D-E5C8-4AA5-A34E-3C72BA406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8167532"/>
              </p:ext>
            </p:extLst>
          </p:nvPr>
        </p:nvGraphicFramePr>
        <p:xfrm>
          <a:off x="141152" y="1219201"/>
          <a:ext cx="6085476" cy="5569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67379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ange Log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0C31FD3-8B63-46FD-91B3-5D38864CF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861141"/>
              </p:ext>
            </p:extLst>
          </p:nvPr>
        </p:nvGraphicFramePr>
        <p:xfrm>
          <a:off x="804416" y="1429881"/>
          <a:ext cx="10583168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91425">
                  <a:extLst>
                    <a:ext uri="{9D8B030D-6E8A-4147-A177-3AD203B41FA5}">
                      <a16:colId xmlns:a16="http://schemas.microsoft.com/office/drawing/2014/main" val="2035286520"/>
                    </a:ext>
                  </a:extLst>
                </a:gridCol>
                <a:gridCol w="5557421">
                  <a:extLst>
                    <a:ext uri="{9D8B030D-6E8A-4147-A177-3AD203B41FA5}">
                      <a16:colId xmlns:a16="http://schemas.microsoft.com/office/drawing/2014/main" val="1874633215"/>
                    </a:ext>
                  </a:extLst>
                </a:gridCol>
                <a:gridCol w="2734322">
                  <a:extLst>
                    <a:ext uri="{9D8B030D-6E8A-4147-A177-3AD203B41FA5}">
                      <a16:colId xmlns:a16="http://schemas.microsoft.com/office/drawing/2014/main" val="11083130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Updated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Change log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Author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565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D" dirty="0"/>
                        <a:t>28 December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Initial commit – </a:t>
                      </a:r>
                      <a:r>
                        <a:rPr lang="en-ID" sz="1200" i="1" dirty="0"/>
                        <a:t>return to nightmare and re-open the wound </a:t>
                      </a:r>
                      <a:r>
                        <a:rPr lang="en-ID" sz="1200" i="0" dirty="0">
                          <a:sym typeface="Wingdings" panose="05000000000000000000" pitchFamily="2" charset="2"/>
                        </a:rPr>
                        <a:t> </a:t>
                      </a:r>
                      <a:endParaRPr lang="en-ID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Rukmono Erwa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335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D" dirty="0"/>
                        <a:t>5 January </a:t>
                      </a:r>
                      <a:r>
                        <a:rPr lang="en-ID" dirty="0" smtClean="0"/>
                        <a:t>2019</a:t>
                      </a:r>
                      <a:endParaRPr lang="en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800" i="0" dirty="0"/>
                        <a:t>1</a:t>
                      </a:r>
                      <a:r>
                        <a:rPr lang="en-ID" sz="1800" i="0" baseline="30000" dirty="0"/>
                        <a:t>st</a:t>
                      </a:r>
                      <a:r>
                        <a:rPr lang="en-ID" sz="1800" i="0" dirty="0"/>
                        <a:t> version showcase slide</a:t>
                      </a:r>
                      <a:endParaRPr lang="en-ID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 err="1" smtClean="0"/>
                        <a:t>Danar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33253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D" dirty="0"/>
                        <a:t>9 January </a:t>
                      </a:r>
                      <a:r>
                        <a:rPr lang="en-ID" dirty="0" smtClean="0"/>
                        <a:t>2019</a:t>
                      </a:r>
                      <a:endParaRPr lang="en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800" dirty="0"/>
                        <a:t>Update tables</a:t>
                      </a:r>
                      <a:endParaRPr lang="en-ID" sz="18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Dan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025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D" dirty="0"/>
                        <a:t>10 </a:t>
                      </a:r>
                      <a:r>
                        <a:rPr lang="en-ID"/>
                        <a:t>January </a:t>
                      </a:r>
                      <a:r>
                        <a:rPr lang="en-ID" smtClean="0"/>
                        <a:t>2019</a:t>
                      </a:r>
                      <a:endParaRPr lang="en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800" i="0" dirty="0"/>
                        <a:t>Add tickets on several t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 err="1" smtClean="0"/>
                        <a:t>Danar</a:t>
                      </a:r>
                      <a:endParaRPr lang="en-ID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50613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76104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rewall Dashboard – event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opped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7AF813-0C39-4C45-9165-8FD222707C3A}"/>
              </a:ext>
            </a:extLst>
          </p:cNvPr>
          <p:cNvCxnSpPr/>
          <p:nvPr/>
        </p:nvCxnSpPr>
        <p:spPr>
          <a:xfrm>
            <a:off x="5796645" y="1445621"/>
            <a:ext cx="0" cy="50770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5B7D361-287B-4F00-A2D7-D5338E0883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1369863"/>
              </p:ext>
            </p:extLst>
          </p:nvPr>
        </p:nvGraphicFramePr>
        <p:xfrm>
          <a:off x="217713" y="1287550"/>
          <a:ext cx="4957361" cy="2696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5D2D766-130F-4D43-B159-70006E8B24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558103"/>
              </p:ext>
            </p:extLst>
          </p:nvPr>
        </p:nvGraphicFramePr>
        <p:xfrm>
          <a:off x="217714" y="4204921"/>
          <a:ext cx="5060868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D19A077C-87A8-4CAE-ABFA-6DE85F8287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7560960"/>
              </p:ext>
            </p:extLst>
          </p:nvPr>
        </p:nvGraphicFramePr>
        <p:xfrm>
          <a:off x="6418216" y="1287550"/>
          <a:ext cx="4728755" cy="26966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5B5452F-2CF9-4C3E-82B8-7BCF957470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5831479"/>
              </p:ext>
            </p:extLst>
          </p:nvPr>
        </p:nvGraphicFramePr>
        <p:xfrm>
          <a:off x="6418217" y="4204921"/>
          <a:ext cx="4728753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5453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irewall Dashboard 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5874101"/>
              </p:ext>
            </p:extLst>
          </p:nvPr>
        </p:nvGraphicFramePr>
        <p:xfrm>
          <a:off x="230777" y="1295208"/>
          <a:ext cx="7547408" cy="156329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83920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9927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3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9483">
                  <a:extLst>
                    <a:ext uri="{9D8B030D-6E8A-4147-A177-3AD203B41FA5}">
                      <a16:colId xmlns:a16="http://schemas.microsoft.com/office/drawing/2014/main" val="3144813129"/>
                    </a:ext>
                  </a:extLst>
                </a:gridCol>
                <a:gridCol w="1490428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1490428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4203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Ingress Deni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>
                          <a:effectLst/>
                        </a:rPr>
                        <a:t>Egress Denied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0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1598828"/>
              </p:ext>
            </p:extLst>
          </p:nvPr>
        </p:nvGraphicFramePr>
        <p:xfrm>
          <a:off x="6096000" y="3187337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84336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56" y="3262828"/>
            <a:ext cx="4987893" cy="369332"/>
          </a:xfrm>
        </p:spPr>
        <p:txBody>
          <a:bodyPr/>
          <a:lstStyle/>
          <a:p>
            <a:r>
              <a:rPr lang="en-US" sz="2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 Activities Dashboard</a:t>
            </a:r>
            <a:endParaRPr lang="en-GB" sz="2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590E35-1796-4C78-8FCC-4F26C8C72C83}"/>
              </a:ext>
            </a:extLst>
          </p:cNvPr>
          <p:cNvCxnSpPr>
            <a:cxnSpLocks/>
          </p:cNvCxnSpPr>
          <p:nvPr/>
        </p:nvCxnSpPr>
        <p:spPr>
          <a:xfrm>
            <a:off x="683581" y="3752176"/>
            <a:ext cx="1093728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9567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ser Activities Dashboard - categories</a:t>
            </a:r>
            <a:endParaRPr lang="en-GB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9F89D3D-889E-48CB-81BF-2613FD4FF9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168481"/>
              </p:ext>
            </p:extLst>
          </p:nvPr>
        </p:nvGraphicFramePr>
        <p:xfrm>
          <a:off x="348341" y="2901122"/>
          <a:ext cx="11495317" cy="9306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962231485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User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Login success, failed attempts, or multiple login fail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 err="1"/>
                        <a:t>Auth</a:t>
                      </a:r>
                      <a:r>
                        <a:rPr lang="en-ID" sz="1400" dirty="0"/>
                        <a:t> 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User active directory activity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7967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5851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ser Activities Dashboard – top login failures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3123577"/>
              </p:ext>
            </p:extLst>
          </p:nvPr>
        </p:nvGraphicFramePr>
        <p:xfrm>
          <a:off x="1606731" y="1521631"/>
          <a:ext cx="6598102" cy="332893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37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0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0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0179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</a:tblGrid>
              <a:tr h="34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IP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Hostnam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Use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Hit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2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ys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hy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16052328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8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3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a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rdian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(15049280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0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3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NARDI(88111QG5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3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v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viyah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trian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13039701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1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hmat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hyo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bowo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BT1708213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2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4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ndany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rsley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17054078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66347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3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co Bakker (12026612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367700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1.71.11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brmbxmpr01.corp.btpn.co.id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veri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ctavian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tumahina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(14048675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7606" marR="7606" marT="7606" marB="0" anchor="b">
                    <a:solidFill>
                      <a:srgbClr val="FDF9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878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00446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56" y="3262828"/>
            <a:ext cx="4987893" cy="369332"/>
          </a:xfrm>
        </p:spPr>
        <p:txBody>
          <a:bodyPr/>
          <a:lstStyle/>
          <a:p>
            <a:r>
              <a:rPr lang="en-US" sz="2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erability Dashboard</a:t>
            </a:r>
            <a:endParaRPr lang="en-GB" sz="2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590E35-1796-4C78-8FCC-4F26C8C72C83}"/>
              </a:ext>
            </a:extLst>
          </p:cNvPr>
          <p:cNvCxnSpPr>
            <a:cxnSpLocks/>
          </p:cNvCxnSpPr>
          <p:nvPr/>
        </p:nvCxnSpPr>
        <p:spPr>
          <a:xfrm>
            <a:off x="683581" y="3752176"/>
            <a:ext cx="1093728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6513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ulnerability Dashboard - categories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13A0288-31FD-455D-85DA-93E2696A4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558831"/>
              </p:ext>
            </p:extLst>
          </p:nvPr>
        </p:nvGraphicFramePr>
        <p:xfrm>
          <a:off x="348341" y="2343774"/>
          <a:ext cx="11495317" cy="9306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1019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95517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751909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1637212">
                  <a:extLst>
                    <a:ext uri="{9D8B030D-6E8A-4147-A177-3AD203B41FA5}">
                      <a16:colId xmlns:a16="http://schemas.microsoft.com/office/drawing/2014/main" val="3962231485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Track status of open vulnerabilities discovered within the environ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 manage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56148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ulnerability Dashboard – event detected/stopped</a:t>
            </a:r>
            <a:endParaRPr lang="en-GB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F1AFE6D-E5C8-4AA5-A34E-3C72BA406F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5980641"/>
              </p:ext>
            </p:extLst>
          </p:nvPr>
        </p:nvGraphicFramePr>
        <p:xfrm>
          <a:off x="141152" y="1219201"/>
          <a:ext cx="6085476" cy="5569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7AF813-0C39-4C45-9165-8FD222707C3A}"/>
              </a:ext>
            </a:extLst>
          </p:cNvPr>
          <p:cNvCxnSpPr/>
          <p:nvPr/>
        </p:nvCxnSpPr>
        <p:spPr>
          <a:xfrm>
            <a:off x="6496596" y="1465217"/>
            <a:ext cx="0" cy="50770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485265A-5AB6-472E-A6EB-9A3D63FE56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5252689"/>
              </p:ext>
            </p:extLst>
          </p:nvPr>
        </p:nvGraphicFramePr>
        <p:xfrm>
          <a:off x="7090756" y="1287550"/>
          <a:ext cx="4804757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8F2FE7C-40B4-454B-B5E9-F96608CC4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3320813"/>
              </p:ext>
            </p:extLst>
          </p:nvPr>
        </p:nvGraphicFramePr>
        <p:xfrm>
          <a:off x="7903472" y="4204921"/>
          <a:ext cx="2899061" cy="265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0E6AC4-EB6F-4BEE-841F-AAD63728A34D}"/>
              </a:ext>
            </a:extLst>
          </p:cNvPr>
          <p:cNvCxnSpPr>
            <a:cxnSpLocks/>
          </p:cNvCxnSpPr>
          <p:nvPr/>
        </p:nvCxnSpPr>
        <p:spPr>
          <a:xfrm flipH="1">
            <a:off x="6496596" y="3984170"/>
            <a:ext cx="547769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53586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ulnerability Dashboard 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1068538"/>
              </p:ext>
            </p:extLst>
          </p:nvPr>
        </p:nvGraphicFramePr>
        <p:xfrm>
          <a:off x="230777" y="1295208"/>
          <a:ext cx="11730445" cy="156329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3547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1509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1597">
                  <a:extLst>
                    <a:ext uri="{9D8B030D-6E8A-4147-A177-3AD203B41FA5}">
                      <a16:colId xmlns:a16="http://schemas.microsoft.com/office/drawing/2014/main" val="3144813129"/>
                    </a:ext>
                  </a:extLst>
                </a:gridCol>
                <a:gridCol w="2265431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  <a:gridCol w="2265431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2265431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4203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>
                          <a:effectLst/>
                        </a:rPr>
                        <a:t>Vulnerabl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Pending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gust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73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73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735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73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5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9508580"/>
              </p:ext>
            </p:extLst>
          </p:nvPr>
        </p:nvGraphicFramePr>
        <p:xfrm>
          <a:off x="56606" y="3187337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5922559"/>
              </p:ext>
            </p:extLst>
          </p:nvPr>
        </p:nvGraphicFramePr>
        <p:xfrm>
          <a:off x="6096000" y="3187337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680320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2696" y="3158837"/>
            <a:ext cx="35190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3200" dirty="0"/>
              <a:t>Thank You</a:t>
            </a:r>
          </a:p>
        </p:txBody>
      </p:sp>
      <p:sp>
        <p:nvSpPr>
          <p:cNvPr id="6" name="Isosceles Triangle 5"/>
          <p:cNvSpPr/>
          <p:nvPr/>
        </p:nvSpPr>
        <p:spPr>
          <a:xfrm rot="5400000">
            <a:off x="-1547092" y="1547094"/>
            <a:ext cx="6779493" cy="3685309"/>
          </a:xfrm>
          <a:prstGeom prst="triangl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Isosceles Triangle 6"/>
          <p:cNvSpPr/>
          <p:nvPr/>
        </p:nvSpPr>
        <p:spPr>
          <a:xfrm>
            <a:off x="0" y="2189018"/>
            <a:ext cx="10723418" cy="4590474"/>
          </a:xfrm>
          <a:prstGeom prst="triangle">
            <a:avLst>
              <a:gd name="adj" fmla="val 0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140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csigh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baseline target log collectors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F1B21F-230E-40CE-93DC-43C43611D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902562"/>
              </p:ext>
            </p:extLst>
          </p:nvPr>
        </p:nvGraphicFramePr>
        <p:xfrm>
          <a:off x="750388" y="2365585"/>
          <a:ext cx="10691223" cy="27463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1897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798423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873828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Nam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Typ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Expected Logs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dirty="0"/>
                        <a:t>Sopho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Anti malware log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  <a:tr h="409303">
                <a:tc>
                  <a:txBody>
                    <a:bodyPr/>
                    <a:lstStyle/>
                    <a:p>
                      <a:r>
                        <a:rPr lang="en-ID" dirty="0"/>
                        <a:t>WS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Connector creation, 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Patch statu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65789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dirty="0"/>
                        <a:t>Active Direct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Active directory log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4915216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dirty="0"/>
                        <a:t>McAfee Prox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Proxy log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848185"/>
                  </a:ext>
                </a:extLst>
              </a:tr>
              <a:tr h="400594">
                <a:tc>
                  <a:txBody>
                    <a:bodyPr/>
                    <a:lstStyle/>
                    <a:p>
                      <a:r>
                        <a:rPr lang="en-ID" dirty="0"/>
                        <a:t>Next Gen A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Connector creation, 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Next Gen AV log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95960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r>
                        <a:rPr lang="en-ID" dirty="0"/>
                        <a:t>Configuration Monitor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Connector creation, log valid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dirty="0"/>
                        <a:t>Tripwir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5302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6343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Use case output – Information Security Management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F1B21F-230E-40CE-93DC-43C43611D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76441"/>
              </p:ext>
            </p:extLst>
          </p:nvPr>
        </p:nvGraphicFramePr>
        <p:xfrm>
          <a:off x="348341" y="1673213"/>
          <a:ext cx="11495317" cy="40355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962231485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Antivirus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installed &amp; updat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ophos, Symantec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Compliant syste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ystem comply with internal standar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, </a:t>
                      </a:r>
                      <a:r>
                        <a:rPr lang="en-ID" sz="1400" dirty="0" err="1"/>
                        <a:t>Auth</a:t>
                      </a:r>
                      <a:r>
                        <a:rPr lang="en-ID" sz="1400" dirty="0"/>
                        <a:t> 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dirty="0"/>
                        <a:t>Sophos, Symantec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7696090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fected syste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Track the occurrence of system infected by malware or vir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, proxy, sandbox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ntivirus, </a:t>
                      </a:r>
                      <a:r>
                        <a:rPr lang="en-ID" sz="1400" dirty="0" err="1"/>
                        <a:t>CarbonBlac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827984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Patch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Latest OS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erver update, NAC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WSUS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427141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Privileged user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ivileged user login activity on network/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 err="1"/>
                        <a:t>Auth</a:t>
                      </a:r>
                      <a:r>
                        <a:rPr lang="en-ID" sz="1400" dirty="0"/>
                        <a:t> 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ivilege us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0716257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Security priority sco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ovide scoring overall attack/malicious ev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, web filt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PT framewor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19932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User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Login success, failed attempts, or multiple login fail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 err="1"/>
                        <a:t>Auth</a:t>
                      </a:r>
                      <a:r>
                        <a:rPr lang="en-ID" sz="1400" dirty="0"/>
                        <a:t> 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User active directory activity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796779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Track status of open vulnerabilities discovered within the environ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 manage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Vulnerability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138230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Configuration chang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Track changes on monitored syste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 err="1"/>
                        <a:t>Tripwa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 err="1"/>
                        <a:t>Tripwar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509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0728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ID" dirty="0">
                <a:latin typeface="Arial" panose="020B0604020202020204" pitchFamily="34" charset="0"/>
                <a:cs typeface="Arial" panose="020B0604020202020204" pitchFamily="34" charset="0"/>
              </a:rPr>
              <a:t>Use case output – Security Operations Analysts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F1B21F-230E-40CE-93DC-43C43611D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375877"/>
              </p:ext>
            </p:extLst>
          </p:nvPr>
        </p:nvGraphicFramePr>
        <p:xfrm>
          <a:off x="348341" y="1504480"/>
          <a:ext cx="11495317" cy="46776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1076472769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Firewall ent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event internal/external conne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eckpoint, Pal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trusion detection / prevention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event isolated on intrusion detection or prevention devic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7696090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egress event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the source IP, destination IP and port for events leaving the organization in order to trend malicious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Web filter, 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827984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ingress ev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dirty="0"/>
                        <a:t>Show the source IP, destination IP and port for events leaving the organization in order to trend malicious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Web filter, 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427141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foreign attack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high-severity security events originating from foreign countri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0716257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foreign countri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top county destinations for non-internal company traffic along with top country sources of traffic coming into organiza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PS firewall, IPS </a:t>
                      </a:r>
                      <a:r>
                        <a:rPr lang="en-US" sz="1400" dirty="0" err="1"/>
                        <a:t>SourceFire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19932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malware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malware activity in environ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, sandbox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tivirus, </a:t>
                      </a:r>
                      <a:r>
                        <a:rPr lang="en-US" sz="1400" dirty="0" err="1"/>
                        <a:t>CarbonBlac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796779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ternet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proxy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ox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ox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138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0820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56" y="3262828"/>
            <a:ext cx="4987893" cy="369332"/>
          </a:xfrm>
        </p:spPr>
        <p:txBody>
          <a:bodyPr/>
          <a:lstStyle/>
          <a:p>
            <a:r>
              <a:rPr lang="en-US" sz="2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virus Dashboard</a:t>
            </a:r>
            <a:endParaRPr lang="en-GB" sz="2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590E35-1796-4C78-8FCC-4F26C8C72C83}"/>
              </a:ext>
            </a:extLst>
          </p:cNvPr>
          <p:cNvCxnSpPr>
            <a:cxnSpLocks/>
          </p:cNvCxnSpPr>
          <p:nvPr/>
        </p:nvCxnSpPr>
        <p:spPr>
          <a:xfrm>
            <a:off x="683581" y="3752176"/>
            <a:ext cx="1093728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756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virus Dashboard - categories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13A0288-31FD-455D-85DA-93E2696A4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437204"/>
              </p:ext>
            </p:extLst>
          </p:nvPr>
        </p:nvGraphicFramePr>
        <p:xfrm>
          <a:off x="348341" y="1393187"/>
          <a:ext cx="11495317" cy="23097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58342">
                  <a:extLst>
                    <a:ext uri="{9D8B030D-6E8A-4147-A177-3AD203B41FA5}">
                      <a16:colId xmlns:a16="http://schemas.microsoft.com/office/drawing/2014/main" val="2290994124"/>
                    </a:ext>
                  </a:extLst>
                </a:gridCol>
                <a:gridCol w="4066287">
                  <a:extLst>
                    <a:ext uri="{9D8B030D-6E8A-4147-A177-3AD203B41FA5}">
                      <a16:colId xmlns:a16="http://schemas.microsoft.com/office/drawing/2014/main" val="480646683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279015967"/>
                    </a:ext>
                  </a:extLst>
                </a:gridCol>
                <a:gridCol w="2435344">
                  <a:extLst>
                    <a:ext uri="{9D8B030D-6E8A-4147-A177-3AD203B41FA5}">
                      <a16:colId xmlns:a16="http://schemas.microsoft.com/office/drawing/2014/main" val="3962231485"/>
                    </a:ext>
                  </a:extLst>
                </a:gridCol>
              </a:tblGrid>
              <a:tr h="412449"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Metric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escription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Source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1" dirty="0"/>
                        <a:t>Dashboard</a:t>
                      </a:r>
                      <a:endParaRPr lang="en-US" sz="1600" b="1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30301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Antivirus stat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installed &amp; updat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ophos, Symantec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608968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Compliant syste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ystem comply with internal standar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, </a:t>
                      </a:r>
                      <a:r>
                        <a:rPr lang="en-ID" sz="1400" dirty="0" err="1"/>
                        <a:t>Auth</a:t>
                      </a:r>
                      <a:r>
                        <a:rPr lang="en-ID" sz="1400" dirty="0"/>
                        <a:t> serv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dirty="0"/>
                        <a:t>Sophos, Symantec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7696090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Infected syste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Track the occurrence of system infected by malware or vir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, proxy, sandbox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ntivirus, </a:t>
                      </a:r>
                      <a:r>
                        <a:rPr lang="en-ID" sz="1400" dirty="0" err="1"/>
                        <a:t>CarbonBlac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827984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Top malware activ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Show malware activity in environ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V engine, sandbox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tivirus, </a:t>
                      </a:r>
                      <a:r>
                        <a:rPr lang="en-US" sz="1400" dirty="0" err="1"/>
                        <a:t>CarbonBlac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427141"/>
                  </a:ext>
                </a:extLst>
              </a:tr>
              <a:tr h="344773">
                <a:tc>
                  <a:txBody>
                    <a:bodyPr/>
                    <a:lstStyle/>
                    <a:p>
                      <a:r>
                        <a:rPr lang="en-ID" sz="1400" dirty="0"/>
                        <a:t>Security priority sco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Provide scoring overall attack/malicious ev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IPS, firewall, web filter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D" sz="1400" dirty="0"/>
                        <a:t>APT framework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2863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4946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phos Dashboard Update Monitoring 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5845714"/>
              </p:ext>
            </p:extLst>
          </p:nvPr>
        </p:nvGraphicFramePr>
        <p:xfrm>
          <a:off x="230777" y="1295208"/>
          <a:ext cx="11730446" cy="170676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68942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1168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48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4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04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7429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  <a:gridCol w="1687429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1687429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Computer Manageabl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Not Updat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Not install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Pending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ly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167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8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0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9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2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7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86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8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59A8ACD-53FF-4208-B592-99DE673A0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371993"/>
              </p:ext>
            </p:extLst>
          </p:nvPr>
        </p:nvGraphicFramePr>
        <p:xfrm>
          <a:off x="56606" y="3187337"/>
          <a:ext cx="6039394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0887086"/>
              </p:ext>
            </p:extLst>
          </p:nvPr>
        </p:nvGraphicFramePr>
        <p:xfrm>
          <a:off x="6096000" y="3187337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695165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3B6B4-7D92-4A28-A8F6-6DD264D6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606" y="356870"/>
            <a:ext cx="10138409" cy="3693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tivirus Ticket Malware &amp; PUA - monthly</a:t>
            </a:r>
            <a:endParaRPr lang="en-GB" dirty="0"/>
          </a:p>
        </p:txBody>
      </p:sp>
      <p:graphicFrame>
        <p:nvGraphicFramePr>
          <p:cNvPr id="4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3201748"/>
              </p:ext>
            </p:extLst>
          </p:nvPr>
        </p:nvGraphicFramePr>
        <p:xfrm>
          <a:off x="172586" y="1295208"/>
          <a:ext cx="5865223" cy="171437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26480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926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152124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alware Ticket Statistics</a:t>
                      </a:r>
                    </a:p>
                  </a:txBody>
                  <a:tcPr marL="7606" marR="7606" marT="7606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987778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Pending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ly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0546571"/>
              </p:ext>
            </p:extLst>
          </p:nvPr>
        </p:nvGraphicFramePr>
        <p:xfrm>
          <a:off x="172586" y="3029396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9">
            <a:extLst>
              <a:ext uri="{FF2B5EF4-FFF2-40B4-BE49-F238E27FC236}">
                <a16:creationId xmlns:a16="http://schemas.microsoft.com/office/drawing/2014/main" id="{1781580D-F5FE-41BE-9708-56C1C6C4EA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3776029"/>
              </p:ext>
            </p:extLst>
          </p:nvPr>
        </p:nvGraphicFramePr>
        <p:xfrm>
          <a:off x="6140338" y="1295208"/>
          <a:ext cx="5865223" cy="171437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26480">
                  <a:extLst>
                    <a:ext uri="{9D8B030D-6E8A-4147-A177-3AD203B41FA5}">
                      <a16:colId xmlns:a16="http://schemas.microsoft.com/office/drawing/2014/main" val="391352493"/>
                    </a:ext>
                  </a:extLst>
                </a:gridCol>
                <a:gridCol w="926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1440944325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501879884"/>
                    </a:ext>
                  </a:extLst>
                </a:gridCol>
                <a:gridCol w="1337421">
                  <a:extLst>
                    <a:ext uri="{9D8B030D-6E8A-4147-A177-3AD203B41FA5}">
                      <a16:colId xmlns:a16="http://schemas.microsoft.com/office/drawing/2014/main" val="967009697"/>
                    </a:ext>
                  </a:extLst>
                </a:gridCol>
              </a:tblGrid>
              <a:tr h="152124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UA</a:t>
                      </a:r>
                      <a:r>
                        <a:rPr lang="en-US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Ticket Statistic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216461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Mont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Pending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Closed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Total Ticket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124">
                <a:tc rowSpan="6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606" marR="7606" marT="7606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uly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us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pt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kto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ovember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124">
                <a:tc vMerge="1"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06" marR="7606" marT="760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ember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7606" marR="7606" marT="7606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12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uary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7606" marR="7606" marT="7606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2CB37D5-C1F3-49B3-8199-95306AECA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8308304"/>
              </p:ext>
            </p:extLst>
          </p:nvPr>
        </p:nvGraphicFramePr>
        <p:xfrm>
          <a:off x="6140338" y="3029396"/>
          <a:ext cx="5865223" cy="3509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56918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TPN Template">
  <a:themeElements>
    <a:clrScheme name="Austin">
      <a:dk1>
        <a:sysClr val="windowText" lastClr="000000"/>
      </a:dk1>
      <a:lt1>
        <a:sysClr val="window" lastClr="FFFFFF"/>
      </a:lt1>
      <a:dk2>
        <a:srgbClr val="3E3D2D"/>
      </a:dk2>
      <a:lt2>
        <a:srgbClr val="CAF278"/>
      </a:lt2>
      <a:accent1>
        <a:srgbClr val="94C600"/>
      </a:accent1>
      <a:accent2>
        <a:srgbClr val="71685A"/>
      </a:accent2>
      <a:accent3>
        <a:srgbClr val="FF6700"/>
      </a:accent3>
      <a:accent4>
        <a:srgbClr val="909465"/>
      </a:accent4>
      <a:accent5>
        <a:srgbClr val="956B43"/>
      </a:accent5>
      <a:accent6>
        <a:srgbClr val="FEA022"/>
      </a:accent6>
      <a:hlink>
        <a:srgbClr val="E68200"/>
      </a:hlink>
      <a:folHlink>
        <a:srgbClr val="FFA94A"/>
      </a:folHlink>
    </a:clrScheme>
    <a:fontScheme name="Arial BTP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05</TotalTime>
  <Words>1291</Words>
  <Application>Microsoft Office PowerPoint</Application>
  <PresentationFormat>Widescreen</PresentationFormat>
  <Paragraphs>586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Arial</vt:lpstr>
      <vt:lpstr>Calibri</vt:lpstr>
      <vt:lpstr>Calibri Light</vt:lpstr>
      <vt:lpstr>Helvetica Neue</vt:lpstr>
      <vt:lpstr>Wingdings</vt:lpstr>
      <vt:lpstr>Office Theme</vt:lpstr>
      <vt:lpstr>BTPN Template</vt:lpstr>
      <vt:lpstr>think-cell Slide</vt:lpstr>
      <vt:lpstr>ArcSight Showcase</vt:lpstr>
      <vt:lpstr>Change Log</vt:lpstr>
      <vt:lpstr>Arcsight baseline target log collectors</vt:lpstr>
      <vt:lpstr>Use case output – Information Security Management</vt:lpstr>
      <vt:lpstr>Use case output – Security Operations Analysts</vt:lpstr>
      <vt:lpstr>Antivirus Dashboard</vt:lpstr>
      <vt:lpstr>Antivirus Dashboard - categories</vt:lpstr>
      <vt:lpstr>Sophos Dashboard Update Monitoring - monthly</vt:lpstr>
      <vt:lpstr>Antivirus Ticket Malware &amp; PUA - monthly</vt:lpstr>
      <vt:lpstr>Antivirus Dashboard Compliance Monitoring- monthly</vt:lpstr>
      <vt:lpstr>Antivirus Dashboard - virus</vt:lpstr>
      <vt:lpstr>Antivirus Dashboard - infection</vt:lpstr>
      <vt:lpstr>Proxy Dashboard</vt:lpstr>
      <vt:lpstr>Proxy Dashboard - categories</vt:lpstr>
      <vt:lpstr>Proxy Dashboard - monthly</vt:lpstr>
      <vt:lpstr>Proxy Dashboard Top 10 - monthly</vt:lpstr>
      <vt:lpstr>Firewall Dashboard</vt:lpstr>
      <vt:lpstr>Firewall Dashboard - categories</vt:lpstr>
      <vt:lpstr>Firewall Dashboard – event detected/stopped</vt:lpstr>
      <vt:lpstr>Firewall Dashboard – event stopped</vt:lpstr>
      <vt:lpstr>Firewall Dashboard - monthly</vt:lpstr>
      <vt:lpstr>User Activities Dashboard</vt:lpstr>
      <vt:lpstr>User Activities Dashboard - categories</vt:lpstr>
      <vt:lpstr>User Activities Dashboard – top login failures</vt:lpstr>
      <vt:lpstr>Vulnerability Dashboard</vt:lpstr>
      <vt:lpstr>Vulnerability Dashboard - categories</vt:lpstr>
      <vt:lpstr>Vulnerability Dashboard – event detected/stopped</vt:lpstr>
      <vt:lpstr>Vulnerability Dashboard - monthl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EP Daily Report</dc:title>
  <dc:creator>user</dc:creator>
  <cp:lastModifiedBy>user</cp:lastModifiedBy>
  <cp:revision>1131</cp:revision>
  <dcterms:created xsi:type="dcterms:W3CDTF">2018-09-14T07:27:01Z</dcterms:created>
  <dcterms:modified xsi:type="dcterms:W3CDTF">2019-08-07T03:44:45Z</dcterms:modified>
</cp:coreProperties>
</file>